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notesSlides/notesSlide1.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2.xml" ContentType="application/vnd.openxmlformats-officedocument.drawingml.chartshapes+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2.xml" ContentType="application/vnd.openxmlformats-officedocument.themeOverr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3.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3" r:id="rId4"/>
  </p:sldMasterIdLst>
  <p:notesMasterIdLst>
    <p:notesMasterId r:id="rId32"/>
  </p:notesMasterIdLst>
  <p:handoutMasterIdLst>
    <p:handoutMasterId r:id="rId33"/>
  </p:handoutMasterIdLst>
  <p:sldIdLst>
    <p:sldId id="2008011455" r:id="rId5"/>
    <p:sldId id="301" r:id="rId6"/>
    <p:sldId id="2008011456" r:id="rId7"/>
    <p:sldId id="2008011463" r:id="rId8"/>
    <p:sldId id="1999273078" r:id="rId9"/>
    <p:sldId id="1999272958" r:id="rId10"/>
    <p:sldId id="1999272816" r:id="rId11"/>
    <p:sldId id="2038388750" r:id="rId12"/>
    <p:sldId id="2008011462" r:id="rId13"/>
    <p:sldId id="2038388797" r:id="rId14"/>
    <p:sldId id="2038388718" r:id="rId15"/>
    <p:sldId id="2038388721" r:id="rId16"/>
    <p:sldId id="2008011457" r:id="rId17"/>
    <p:sldId id="2008011458" r:id="rId18"/>
    <p:sldId id="2008011449" r:id="rId19"/>
    <p:sldId id="1999273141" r:id="rId20"/>
    <p:sldId id="1999273139" r:id="rId21"/>
    <p:sldId id="1999273114" r:id="rId22"/>
    <p:sldId id="1999272973" r:id="rId23"/>
    <p:sldId id="2008011460" r:id="rId24"/>
    <p:sldId id="1999272487" r:id="rId25"/>
    <p:sldId id="450" r:id="rId26"/>
    <p:sldId id="451" r:id="rId27"/>
    <p:sldId id="452" r:id="rId28"/>
    <p:sldId id="319" r:id="rId29"/>
    <p:sldId id="1999272474" r:id="rId30"/>
    <p:sldId id="1999272475" r:id="rId31"/>
  </p:sldIdLst>
  <p:sldSz cx="13442950" cy="7561263"/>
  <p:notesSz cx="6797675" cy="9926638"/>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7E312EDA-28DA-4EA9-9767-911A8F166E0A}">
          <p14:sldIdLst>
            <p14:sldId id="2008011455"/>
            <p14:sldId id="301"/>
            <p14:sldId id="2008011456"/>
            <p14:sldId id="2008011463"/>
            <p14:sldId id="1999273078"/>
            <p14:sldId id="1999272958"/>
            <p14:sldId id="1999272816"/>
            <p14:sldId id="2038388750"/>
            <p14:sldId id="2008011462"/>
            <p14:sldId id="2038388797"/>
            <p14:sldId id="2038388718"/>
            <p14:sldId id="2038388721"/>
            <p14:sldId id="2008011457"/>
            <p14:sldId id="2008011458"/>
            <p14:sldId id="2008011449"/>
            <p14:sldId id="1999273141"/>
            <p14:sldId id="1999273139"/>
            <p14:sldId id="1999273114"/>
            <p14:sldId id="1999272973"/>
            <p14:sldId id="2008011460"/>
            <p14:sldId id="1999272487"/>
            <p14:sldId id="450"/>
            <p14:sldId id="451"/>
            <p14:sldId id="452"/>
            <p14:sldId id="319"/>
            <p14:sldId id="1999272474"/>
            <p14:sldId id="1999272475"/>
          </p14:sldIdLst>
        </p14:section>
      </p14:sectionLst>
    </p:ext>
    <p:ext uri="{EFAFB233-063F-42B5-8137-9DF3F51BA10A}">
      <p15:sldGuideLst xmlns:p15="http://schemas.microsoft.com/office/powerpoint/2012/main">
        <p15:guide id="1" orient="horz" pos="2382" userDrawn="1">
          <p15:clr>
            <a:srgbClr val="A4A3A4"/>
          </p15:clr>
        </p15:guide>
        <p15:guide id="2" pos="66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 BREZINSCHEK" initials="PB" lastIdx="2" clrIdx="0">
    <p:extLst>
      <p:ext uri="{19B8F6BF-5375-455C-9EA6-DF929625EA0E}">
        <p15:presenceInfo xmlns:p15="http://schemas.microsoft.com/office/powerpoint/2012/main" userId="Peter BREZINSCHEK" providerId="None"/>
      </p:ext>
    </p:extLst>
  </p:cmAuthor>
  <p:cmAuthor id="2" name="Martin HAMAK" initials="MH" lastIdx="1" clrIdx="1">
    <p:extLst>
      <p:ext uri="{19B8F6BF-5375-455C-9EA6-DF929625EA0E}">
        <p15:presenceInfo xmlns:p15="http://schemas.microsoft.com/office/powerpoint/2012/main" userId="Martin HAMA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EE600"/>
    <a:srgbClr val="FFFFFF"/>
    <a:srgbClr val="FFEFEF"/>
    <a:srgbClr val="800000"/>
    <a:srgbClr val="009600"/>
    <a:srgbClr val="000000"/>
    <a:srgbClr val="ADC2FF"/>
    <a:srgbClr val="FF9600"/>
    <a:srgbClr val="FFBE64"/>
    <a:srgbClr val="FF14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1" d="100"/>
          <a:sy n="71" d="100"/>
        </p:scale>
        <p:origin x="754" y="48"/>
      </p:cViewPr>
      <p:guideLst>
        <p:guide orient="horz" pos="2382"/>
        <p:guide pos="6692"/>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on WANNENMACHER" userId="416304d4-34a8-4f78-b8f0-df0c10c3a557" providerId="ADAL" clId="{786EE8F2-2788-416F-BE51-FEE9CD6C2341}"/>
    <pc:docChg chg="undo custSel modSld">
      <pc:chgData name="Marion WANNENMACHER" userId="416304d4-34a8-4f78-b8f0-df0c10c3a557" providerId="ADAL" clId="{786EE8F2-2788-416F-BE51-FEE9CD6C2341}" dt="2021-10-11T09:17:25.645" v="49" actId="20577"/>
      <pc:docMkLst>
        <pc:docMk/>
      </pc:docMkLst>
      <pc:sldChg chg="modSp mod">
        <pc:chgData name="Marion WANNENMACHER" userId="416304d4-34a8-4f78-b8f0-df0c10c3a557" providerId="ADAL" clId="{786EE8F2-2788-416F-BE51-FEE9CD6C2341}" dt="2021-10-11T09:07:02.185" v="21" actId="20577"/>
        <pc:sldMkLst>
          <pc:docMk/>
          <pc:sldMk cId="1860629898" sldId="1999272475"/>
        </pc:sldMkLst>
        <pc:spChg chg="mod">
          <ac:chgData name="Marion WANNENMACHER" userId="416304d4-34a8-4f78-b8f0-df0c10c3a557" providerId="ADAL" clId="{786EE8F2-2788-416F-BE51-FEE9CD6C2341}" dt="2021-10-11T09:07:02.185" v="21" actId="20577"/>
          <ac:spMkLst>
            <pc:docMk/>
            <pc:sldMk cId="1860629898" sldId="1999272475"/>
            <ac:spMk id="4" creationId="{00000000-0000-0000-0000-000000000000}"/>
          </ac:spMkLst>
        </pc:spChg>
      </pc:sldChg>
      <pc:sldChg chg="modSp mod">
        <pc:chgData name="Marion WANNENMACHER" userId="416304d4-34a8-4f78-b8f0-df0c10c3a557" providerId="ADAL" clId="{786EE8F2-2788-416F-BE51-FEE9CD6C2341}" dt="2021-10-11T09:17:25.645" v="49" actId="20577"/>
        <pc:sldMkLst>
          <pc:docMk/>
          <pc:sldMk cId="3688867997" sldId="1999272487"/>
        </pc:sldMkLst>
        <pc:graphicFrameChg chg="modGraphic">
          <ac:chgData name="Marion WANNENMACHER" userId="416304d4-34a8-4f78-b8f0-df0c10c3a557" providerId="ADAL" clId="{786EE8F2-2788-416F-BE51-FEE9CD6C2341}" dt="2021-10-11T09:17:25.645" v="49" actId="20577"/>
          <ac:graphicFrameMkLst>
            <pc:docMk/>
            <pc:sldMk cId="3688867997" sldId="1999272487"/>
            <ac:graphicFrameMk id="30" creationId="{5A10EE5A-20F3-4818-9CA8-AAE628F93C72}"/>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rbinternational-my.sharepoint.com/personal/matthias_reith_rbinternational_com/Documents/Eurozone/BIP_Komponenten.xlsm"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Book1" TargetMode="External"/></Relationships>
</file>

<file path=ppt/charts/_rels/chart11.xml.rels><?xml version="1.0" encoding="UTF-8" standalone="yes"?>
<Relationships xmlns="http://schemas.openxmlformats.org/package/2006/relationships"><Relationship Id="rId3" Type="http://schemas.openxmlformats.org/officeDocument/2006/relationships/oleObject" Target="https://rbinternational-my.sharepoint.com/personal/christian_hinterwallner_rbinternational_com/Documents/Wichtige_Grafiken_Anlageberater.xlsm"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3.xml"/></Relationships>
</file>

<file path=ppt/charts/_rels/chart2.xml.rels><?xml version="1.0" encoding="UTF-8" standalone="yes"?>
<Relationships xmlns="http://schemas.openxmlformats.org/package/2006/relationships"><Relationship Id="rId3" Type="http://schemas.openxmlformats.org/officeDocument/2006/relationships/oleObject" Target="https://rbinternational-my.sharepoint.com/personal/matthias_reith_rbinternational_com/Documents/&#214;sterreich/Regionalwirtschaft/Bruttowertsch&#246;pfung%20AT%20Regional.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oleObject" Target="https://rbinternational-my.sharepoint.com/personal/matthias_reith_rbinternational_com/Documents/&#214;sterreich/Arbeitsmarkt_neu2.xlsm"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RZBFS13\RZB_VWA410\VWARENT\Countries\Euroland\Inflation_Teilbereiche.xlsm"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RZBFS13\RZB_VWA410\VWARENT\Chartbank\Inflation\World_03_VPI%20L&#228;nder.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WZBDBG\Desktop\Long-term%20CPI%20DE%20USA.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C:\Users\WZBDBG\Desktop\Long-term%20CPI%20DE%20USA.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RZBFS13\RZB_VWA410\VWARENT\Countries\Austria\&#214;sterreich\Regionalwirtschaft\Wien\OeNB-Kreditdaten.xlsx" TargetMode="External"/></Relationships>
</file>

<file path=ppt/charts/_rels/chart9.xml.rels><?xml version="1.0" encoding="UTF-8" standalone="yes"?>
<Relationships xmlns="http://schemas.openxmlformats.org/package/2006/relationships"><Relationship Id="rId3" Type="http://schemas.openxmlformats.org/officeDocument/2006/relationships/oleObject" Target="https://rbinternational-my.sharepoint.com/personal/matthias_reith_rbinternational_com/Documents/&#214;sterreich/Regionalwirtschaft/Immodaten%20AT/Statistik%20Austria%20Sonderauswertung%202020.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Amalia" panose="020B0504020203020204" pitchFamily="34" charset="0"/>
                <a:ea typeface="+mn-ea"/>
                <a:cs typeface="+mn-cs"/>
              </a:defRPr>
            </a:pPr>
            <a:r>
              <a:rPr lang="de-DE">
                <a:latin typeface="Amalia" panose="020B0504020203020204" pitchFamily="34" charset="0"/>
              </a:rPr>
              <a:t>BIP real (indexiert*)</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manualLayout>
          <c:layoutTarget val="inner"/>
          <c:xMode val="edge"/>
          <c:yMode val="edge"/>
          <c:x val="9.2324142414090246E-2"/>
          <c:y val="7.4488404154198704E-2"/>
          <c:w val="0.88541944059082989"/>
          <c:h val="0.76401311970026708"/>
        </c:manualLayout>
      </c:layout>
      <c:lineChart>
        <c:grouping val="standard"/>
        <c:varyColors val="0"/>
        <c:ser>
          <c:idx val="0"/>
          <c:order val="0"/>
          <c:spPr>
            <a:ln w="28575" cap="rnd">
              <a:solidFill>
                <a:schemeClr val="accent1"/>
              </a:solidFill>
              <a:round/>
            </a:ln>
            <a:effectLst/>
          </c:spPr>
          <c:marker>
            <c:symbol val="none"/>
          </c:marker>
          <c:dLbls>
            <c:delete val="1"/>
          </c:dLbls>
          <c:cat>
            <c:numRef>
              <c:f>AT_sa!$CM$12:$CM$28</c:f>
              <c:numCache>
                <c:formatCode>m/d/yyyy</c:formatCode>
                <c:ptCount val="17"/>
                <c:pt idx="0">
                  <c:v>43784</c:v>
                </c:pt>
                <c:pt idx="1">
                  <c:v>43876</c:v>
                </c:pt>
                <c:pt idx="2">
                  <c:v>43966</c:v>
                </c:pt>
                <c:pt idx="3">
                  <c:v>44058</c:v>
                </c:pt>
                <c:pt idx="4">
                  <c:v>44150</c:v>
                </c:pt>
                <c:pt idx="5">
                  <c:v>44242</c:v>
                </c:pt>
                <c:pt idx="6">
                  <c:v>44331</c:v>
                </c:pt>
                <c:pt idx="7">
                  <c:v>44423</c:v>
                </c:pt>
                <c:pt idx="8">
                  <c:v>44515</c:v>
                </c:pt>
                <c:pt idx="9">
                  <c:v>44607</c:v>
                </c:pt>
                <c:pt idx="10">
                  <c:v>44696</c:v>
                </c:pt>
                <c:pt idx="11">
                  <c:v>44788</c:v>
                </c:pt>
                <c:pt idx="12">
                  <c:v>44880</c:v>
                </c:pt>
                <c:pt idx="13">
                  <c:v>44972</c:v>
                </c:pt>
                <c:pt idx="14">
                  <c:v>45061</c:v>
                </c:pt>
                <c:pt idx="15">
                  <c:v>45153</c:v>
                </c:pt>
                <c:pt idx="16">
                  <c:v>45245</c:v>
                </c:pt>
              </c:numCache>
            </c:numRef>
          </c:cat>
          <c:val>
            <c:numRef>
              <c:f>AT_sa!$CN$12:$CN$71</c:f>
              <c:numCache>
                <c:formatCode>0.0</c:formatCode>
                <c:ptCount val="60"/>
                <c:pt idx="0">
                  <c:v>100</c:v>
                </c:pt>
                <c:pt idx="1">
                  <c:v>97.798517127309665</c:v>
                </c:pt>
                <c:pt idx="2">
                  <c:v>87.149343422576138</c:v>
                </c:pt>
                <c:pt idx="3">
                  <c:v>96.732665421674909</c:v>
                </c:pt>
                <c:pt idx="4">
                  <c:v>94.291330434134693</c:v>
                </c:pt>
                <c:pt idx="5">
                  <c:v>94.122440483441565</c:v>
                </c:pt>
                <c:pt idx="6">
                  <c:v>97.521882957371844</c:v>
                </c:pt>
                <c:pt idx="7">
                  <c:v>99.959930031306129</c:v>
                </c:pt>
                <c:pt idx="8">
                  <c:v>100.65964954152527</c:v>
                </c:pt>
                <c:pt idx="9">
                  <c:v>101.36426708831591</c:v>
                </c:pt>
                <c:pt idx="10">
                  <c:v>102.07381695793414</c:v>
                </c:pt>
                <c:pt idx="11">
                  <c:v>102.68625985968174</c:v>
                </c:pt>
                <c:pt idx="12">
                  <c:v>103.30237741883982</c:v>
                </c:pt>
                <c:pt idx="13">
                  <c:v>103.92219168335288</c:v>
                </c:pt>
                <c:pt idx="14">
                  <c:v>104.44180264176963</c:v>
                </c:pt>
                <c:pt idx="15">
                  <c:v>104.96401165497846</c:v>
                </c:pt>
                <c:pt idx="16">
                  <c:v>105.27890368994338</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numCache>
            </c:numRef>
          </c:val>
          <c:smooth val="0"/>
          <c:extLst>
            <c:ext xmlns:c16="http://schemas.microsoft.com/office/drawing/2014/chart" uri="{C3380CC4-5D6E-409C-BE32-E72D297353CC}">
              <c16:uniqueId val="{00000000-E382-4CEA-95D4-6C50F78B0D25}"/>
            </c:ext>
          </c:extLst>
        </c:ser>
        <c:dLbls>
          <c:dLblPos val="ctr"/>
          <c:showLegendKey val="0"/>
          <c:showVal val="1"/>
          <c:showCatName val="0"/>
          <c:showSerName val="0"/>
          <c:showPercent val="0"/>
          <c:showBubbleSize val="0"/>
        </c:dLbls>
        <c:smooth val="0"/>
        <c:axId val="486079072"/>
        <c:axId val="486075464"/>
      </c:lineChart>
      <c:dateAx>
        <c:axId val="486079072"/>
        <c:scaling>
          <c:orientation val="minMax"/>
        </c:scaling>
        <c:delete val="0"/>
        <c:axPos val="b"/>
        <c:numFmt formatCode="mmm/\ 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486075464"/>
        <c:crosses val="autoZero"/>
        <c:auto val="1"/>
        <c:lblOffset val="100"/>
        <c:baseTimeUnit val="months"/>
        <c:majorUnit val="6"/>
        <c:majorTimeUnit val="months"/>
      </c:dateAx>
      <c:valAx>
        <c:axId val="486075464"/>
        <c:scaling>
          <c:orientation val="minMax"/>
          <c:max val="110"/>
          <c:min val="8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486079072"/>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en-US"/>
              <a:t>EUR/m2 (2020)</a:t>
            </a:r>
          </a:p>
        </c:rich>
      </c:tx>
      <c:layout>
        <c:manualLayout>
          <c:xMode val="edge"/>
          <c:yMode val="edge"/>
          <c:x val="0.38382776138970831"/>
          <c:y val="0"/>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manualLayout>
          <c:layoutTarget val="inner"/>
          <c:xMode val="edge"/>
          <c:yMode val="edge"/>
          <c:x val="7.012141611176817E-2"/>
          <c:y val="6.5187965921192761E-2"/>
          <c:w val="0.89701063622960642"/>
          <c:h val="0.63114998225062113"/>
        </c:manualLayout>
      </c:layout>
      <c:barChart>
        <c:barDir val="col"/>
        <c:grouping val="clustered"/>
        <c:varyColors val="0"/>
        <c:ser>
          <c:idx val="2"/>
          <c:order val="0"/>
          <c:tx>
            <c:strRef>
              <c:f>Sheet1!$B$1</c:f>
              <c:strCache>
                <c:ptCount val="1"/>
                <c:pt idx="0">
                  <c:v>Häuser</c:v>
                </c:pt>
              </c:strCache>
            </c:strRef>
          </c:tx>
          <c:spPr>
            <a:solidFill>
              <a:srgbClr val="FEE600"/>
            </a:solidFill>
            <a:ln w="19050">
              <a:solidFill>
                <a:srgbClr val="FEE600"/>
              </a:solidFill>
            </a:ln>
            <a:effectLst/>
          </c:spPr>
          <c:invertIfNegative val="0"/>
          <c:cat>
            <c:strRef>
              <c:f>Sheet1!$A$2:$A$11</c:f>
              <c:strCache>
                <c:ptCount val="10"/>
                <c:pt idx="0">
                  <c:v>Wien</c:v>
                </c:pt>
                <c:pt idx="1">
                  <c:v>Vorarlberg</c:v>
                </c:pt>
                <c:pt idx="2">
                  <c:v>Salzburg</c:v>
                </c:pt>
                <c:pt idx="3">
                  <c:v>Tirol</c:v>
                </c:pt>
                <c:pt idx="4">
                  <c:v>Oberösterreich</c:v>
                </c:pt>
                <c:pt idx="5">
                  <c:v>Österreich</c:v>
                </c:pt>
                <c:pt idx="6">
                  <c:v>Kärnten</c:v>
                </c:pt>
                <c:pt idx="7">
                  <c:v>Niederösterreich</c:v>
                </c:pt>
                <c:pt idx="8">
                  <c:v>Steiermark</c:v>
                </c:pt>
                <c:pt idx="9">
                  <c:v>Burgenland</c:v>
                </c:pt>
              </c:strCache>
            </c:strRef>
          </c:cat>
          <c:val>
            <c:numRef>
              <c:f>Sheet1!$B$2:$B$11</c:f>
              <c:numCache>
                <c:formatCode>#,##0</c:formatCode>
                <c:ptCount val="10"/>
                <c:pt idx="0">
                  <c:v>4612</c:v>
                </c:pt>
                <c:pt idx="1">
                  <c:v>4018</c:v>
                </c:pt>
                <c:pt idx="2">
                  <c:v>3631</c:v>
                </c:pt>
                <c:pt idx="3">
                  <c:v>3333</c:v>
                </c:pt>
                <c:pt idx="4">
                  <c:v>1944</c:v>
                </c:pt>
                <c:pt idx="5">
                  <c:v>1739</c:v>
                </c:pt>
                <c:pt idx="6">
                  <c:v>1569</c:v>
                </c:pt>
                <c:pt idx="7">
                  <c:v>1515</c:v>
                </c:pt>
                <c:pt idx="8">
                  <c:v>1390</c:v>
                </c:pt>
                <c:pt idx="9">
                  <c:v>924</c:v>
                </c:pt>
              </c:numCache>
            </c:numRef>
          </c:val>
          <c:extLst>
            <c:ext xmlns:c16="http://schemas.microsoft.com/office/drawing/2014/chart" uri="{C3380CC4-5D6E-409C-BE32-E72D297353CC}">
              <c16:uniqueId val="{00000000-823C-46FE-82D4-0E548AAD57C2}"/>
            </c:ext>
          </c:extLst>
        </c:ser>
        <c:ser>
          <c:idx val="3"/>
          <c:order val="1"/>
          <c:tx>
            <c:strRef>
              <c:f>Sheet1!$C$1</c:f>
              <c:strCache>
                <c:ptCount val="1"/>
                <c:pt idx="0">
                  <c:v>Wohnungen</c:v>
                </c:pt>
              </c:strCache>
            </c:strRef>
          </c:tx>
          <c:spPr>
            <a:solidFill>
              <a:srgbClr val="808080"/>
            </a:solidFill>
            <a:ln w="19050">
              <a:solidFill>
                <a:srgbClr val="808080"/>
              </a:solidFill>
            </a:ln>
            <a:effectLst/>
          </c:spPr>
          <c:invertIfNegative val="0"/>
          <c:cat>
            <c:strRef>
              <c:f>Sheet1!$A$2:$A$11</c:f>
              <c:strCache>
                <c:ptCount val="10"/>
                <c:pt idx="0">
                  <c:v>Wien</c:v>
                </c:pt>
                <c:pt idx="1">
                  <c:v>Vorarlberg</c:v>
                </c:pt>
                <c:pt idx="2">
                  <c:v>Salzburg</c:v>
                </c:pt>
                <c:pt idx="3">
                  <c:v>Tirol</c:v>
                </c:pt>
                <c:pt idx="4">
                  <c:v>Oberösterreich</c:v>
                </c:pt>
                <c:pt idx="5">
                  <c:v>Österreich</c:v>
                </c:pt>
                <c:pt idx="6">
                  <c:v>Kärnten</c:v>
                </c:pt>
                <c:pt idx="7">
                  <c:v>Niederösterreich</c:v>
                </c:pt>
                <c:pt idx="8">
                  <c:v>Steiermark</c:v>
                </c:pt>
                <c:pt idx="9">
                  <c:v>Burgenland</c:v>
                </c:pt>
              </c:strCache>
            </c:strRef>
          </c:cat>
          <c:val>
            <c:numRef>
              <c:f>Sheet1!$C$2:$C$11</c:f>
              <c:numCache>
                <c:formatCode>#,##0</c:formatCode>
                <c:ptCount val="10"/>
                <c:pt idx="0">
                  <c:v>4399</c:v>
                </c:pt>
                <c:pt idx="1">
                  <c:v>4523</c:v>
                </c:pt>
                <c:pt idx="2">
                  <c:v>3960</c:v>
                </c:pt>
                <c:pt idx="3">
                  <c:v>3848</c:v>
                </c:pt>
                <c:pt idx="4">
                  <c:v>3011</c:v>
                </c:pt>
                <c:pt idx="5">
                  <c:v>3508</c:v>
                </c:pt>
                <c:pt idx="6">
                  <c:v>2667</c:v>
                </c:pt>
                <c:pt idx="7">
                  <c:v>2926</c:v>
                </c:pt>
                <c:pt idx="8">
                  <c:v>2287</c:v>
                </c:pt>
                <c:pt idx="9">
                  <c:v>1458</c:v>
                </c:pt>
              </c:numCache>
            </c:numRef>
          </c:val>
          <c:extLst>
            <c:ext xmlns:c16="http://schemas.microsoft.com/office/drawing/2014/chart" uri="{C3380CC4-5D6E-409C-BE32-E72D297353CC}">
              <c16:uniqueId val="{00000001-823C-46FE-82D4-0E548AAD57C2}"/>
            </c:ext>
          </c:extLst>
        </c:ser>
        <c:ser>
          <c:idx val="0"/>
          <c:order val="2"/>
          <c:tx>
            <c:strRef>
              <c:f>Sheet1!$D$1</c:f>
              <c:strCache>
                <c:ptCount val="1"/>
              </c:strCache>
            </c:strRef>
          </c:tx>
          <c:spPr>
            <a:solidFill>
              <a:schemeClr val="accent1"/>
            </a:solidFill>
            <a:ln w="19050">
              <a:solidFill>
                <a:srgbClr val="0A0FFA"/>
              </a:solidFill>
            </a:ln>
            <a:effectLst/>
          </c:spPr>
          <c:invertIfNegative val="0"/>
          <c:cat>
            <c:strRef>
              <c:f>Sheet1!$A$2:$A$11</c:f>
              <c:strCache>
                <c:ptCount val="10"/>
                <c:pt idx="0">
                  <c:v>Wien</c:v>
                </c:pt>
                <c:pt idx="1">
                  <c:v>Vorarlberg</c:v>
                </c:pt>
                <c:pt idx="2">
                  <c:v>Salzburg</c:v>
                </c:pt>
                <c:pt idx="3">
                  <c:v>Tirol</c:v>
                </c:pt>
                <c:pt idx="4">
                  <c:v>Oberösterreich</c:v>
                </c:pt>
                <c:pt idx="5">
                  <c:v>Österreich</c:v>
                </c:pt>
                <c:pt idx="6">
                  <c:v>Kärnten</c:v>
                </c:pt>
                <c:pt idx="7">
                  <c:v>Niederösterreich</c:v>
                </c:pt>
                <c:pt idx="8">
                  <c:v>Steiermark</c:v>
                </c:pt>
                <c:pt idx="9">
                  <c:v>Burgenland</c:v>
                </c:pt>
              </c:strCache>
            </c:strRef>
          </c:cat>
          <c:val>
            <c:numRef>
              <c:f>Sheet1!$D$2:$D$11</c:f>
              <c:numCache>
                <c:formatCode>General</c:formatCode>
                <c:ptCount val="10"/>
              </c:numCache>
            </c:numRef>
          </c:val>
          <c:extLst>
            <c:ext xmlns:c16="http://schemas.microsoft.com/office/drawing/2014/chart" uri="{C3380CC4-5D6E-409C-BE32-E72D297353CC}">
              <c16:uniqueId val="{00000002-823C-46FE-82D4-0E548AAD57C2}"/>
            </c:ext>
          </c:extLst>
        </c:ser>
        <c:dLbls>
          <c:showLegendKey val="0"/>
          <c:showVal val="0"/>
          <c:showCatName val="0"/>
          <c:showSerName val="0"/>
          <c:showPercent val="0"/>
          <c:showBubbleSize val="0"/>
        </c:dLbls>
        <c:gapWidth val="150"/>
        <c:axId val="1300485032"/>
        <c:axId val="1300484376"/>
      </c:barChart>
      <c:barChart>
        <c:barDir val="col"/>
        <c:grouping val="clustered"/>
        <c:varyColors val="0"/>
        <c:ser>
          <c:idx val="1"/>
          <c:order val="3"/>
          <c:tx>
            <c:strRef>
              <c:f>Sheet1!$E$1</c:f>
              <c:strCache>
                <c:ptCount val="1"/>
              </c:strCache>
            </c:strRef>
          </c:tx>
          <c:spPr>
            <a:solidFill>
              <a:schemeClr val="accent2"/>
            </a:solidFill>
            <a:ln w="19050">
              <a:solidFill>
                <a:srgbClr val="843C0C"/>
              </a:solidFill>
            </a:ln>
            <a:effectLst/>
          </c:spPr>
          <c:invertIfNegative val="0"/>
          <c:cat>
            <c:strRef>
              <c:f>Sheet1!$A$2:$A$11</c:f>
              <c:strCache>
                <c:ptCount val="10"/>
                <c:pt idx="0">
                  <c:v>Wien</c:v>
                </c:pt>
                <c:pt idx="1">
                  <c:v>Vorarlberg</c:v>
                </c:pt>
                <c:pt idx="2">
                  <c:v>Salzburg</c:v>
                </c:pt>
                <c:pt idx="3">
                  <c:v>Tirol</c:v>
                </c:pt>
                <c:pt idx="4">
                  <c:v>Oberösterreich</c:v>
                </c:pt>
                <c:pt idx="5">
                  <c:v>Österreich</c:v>
                </c:pt>
                <c:pt idx="6">
                  <c:v>Kärnten</c:v>
                </c:pt>
                <c:pt idx="7">
                  <c:v>Niederösterreich</c:v>
                </c:pt>
                <c:pt idx="8">
                  <c:v>Steiermark</c:v>
                </c:pt>
                <c:pt idx="9">
                  <c:v>Burgenland</c:v>
                </c:pt>
              </c:strCache>
            </c:strRef>
          </c:cat>
          <c:val>
            <c:numRef>
              <c:f>Sheet1!$E$2:$E$11</c:f>
              <c:numCache>
                <c:formatCode>General</c:formatCode>
                <c:ptCount val="10"/>
              </c:numCache>
            </c:numRef>
          </c:val>
          <c:extLst>
            <c:ext xmlns:c16="http://schemas.microsoft.com/office/drawing/2014/chart" uri="{C3380CC4-5D6E-409C-BE32-E72D297353CC}">
              <c16:uniqueId val="{00000003-823C-46FE-82D4-0E548AAD57C2}"/>
            </c:ext>
          </c:extLst>
        </c:ser>
        <c:ser>
          <c:idx val="4"/>
          <c:order val="4"/>
          <c:tx>
            <c:strRef>
              <c:f>Sheet1!$F$1</c:f>
              <c:strCache>
                <c:ptCount val="1"/>
              </c:strCache>
            </c:strRef>
          </c:tx>
          <c:spPr>
            <a:solidFill>
              <a:schemeClr val="accent5"/>
            </a:solidFill>
            <a:ln w="19050">
              <a:noFill/>
            </a:ln>
            <a:effectLst/>
          </c:spPr>
          <c:invertIfNegative val="0"/>
          <c:cat>
            <c:strRef>
              <c:f>Sheet1!$A$2:$A$11</c:f>
              <c:strCache>
                <c:ptCount val="10"/>
                <c:pt idx="0">
                  <c:v>Wien</c:v>
                </c:pt>
                <c:pt idx="1">
                  <c:v>Vorarlberg</c:v>
                </c:pt>
                <c:pt idx="2">
                  <c:v>Salzburg</c:v>
                </c:pt>
                <c:pt idx="3">
                  <c:v>Tirol</c:v>
                </c:pt>
                <c:pt idx="4">
                  <c:v>Oberösterreich</c:v>
                </c:pt>
                <c:pt idx="5">
                  <c:v>Österreich</c:v>
                </c:pt>
                <c:pt idx="6">
                  <c:v>Kärnten</c:v>
                </c:pt>
                <c:pt idx="7">
                  <c:v>Niederösterreich</c:v>
                </c:pt>
                <c:pt idx="8">
                  <c:v>Steiermark</c:v>
                </c:pt>
                <c:pt idx="9">
                  <c:v>Burgenland</c:v>
                </c:pt>
              </c:strCache>
            </c:strRef>
          </c:cat>
          <c:val>
            <c:numRef>
              <c:f>Sheet1!$F$2:$F$11</c:f>
              <c:numCache>
                <c:formatCode>General</c:formatCode>
                <c:ptCount val="10"/>
              </c:numCache>
            </c:numRef>
          </c:val>
          <c:extLst>
            <c:ext xmlns:c16="http://schemas.microsoft.com/office/drawing/2014/chart" uri="{C3380CC4-5D6E-409C-BE32-E72D297353CC}">
              <c16:uniqueId val="{00000004-823C-46FE-82D4-0E548AAD57C2}"/>
            </c:ext>
          </c:extLst>
        </c:ser>
        <c:ser>
          <c:idx val="5"/>
          <c:order val="5"/>
          <c:tx>
            <c:strRef>
              <c:f>Sheet1!$G$1</c:f>
              <c:strCache>
                <c:ptCount val="1"/>
                <c:pt idx="0">
                  <c:v>Baugrund (r. Skala)</c:v>
                </c:pt>
              </c:strCache>
            </c:strRef>
          </c:tx>
          <c:spPr>
            <a:solidFill>
              <a:srgbClr val="0A0FFA"/>
            </a:solidFill>
            <a:ln w="19050">
              <a:solidFill>
                <a:srgbClr val="0A0FFA"/>
              </a:solidFill>
            </a:ln>
            <a:effectLst/>
          </c:spPr>
          <c:invertIfNegative val="0"/>
          <c:cat>
            <c:strRef>
              <c:f>Sheet1!$A$2:$A$11</c:f>
              <c:strCache>
                <c:ptCount val="10"/>
                <c:pt idx="0">
                  <c:v>Wien</c:v>
                </c:pt>
                <c:pt idx="1">
                  <c:v>Vorarlberg</c:v>
                </c:pt>
                <c:pt idx="2">
                  <c:v>Salzburg</c:v>
                </c:pt>
                <c:pt idx="3">
                  <c:v>Tirol</c:v>
                </c:pt>
                <c:pt idx="4">
                  <c:v>Oberösterreich</c:v>
                </c:pt>
                <c:pt idx="5">
                  <c:v>Österreich</c:v>
                </c:pt>
                <c:pt idx="6">
                  <c:v>Kärnten</c:v>
                </c:pt>
                <c:pt idx="7">
                  <c:v>Niederösterreich</c:v>
                </c:pt>
                <c:pt idx="8">
                  <c:v>Steiermark</c:v>
                </c:pt>
                <c:pt idx="9">
                  <c:v>Burgenland</c:v>
                </c:pt>
              </c:strCache>
            </c:strRef>
          </c:cat>
          <c:val>
            <c:numRef>
              <c:f>Sheet1!$G$2:$G$11</c:f>
              <c:numCache>
                <c:formatCode>#,##0</c:formatCode>
                <c:ptCount val="10"/>
                <c:pt idx="0">
                  <c:v>837</c:v>
                </c:pt>
                <c:pt idx="1">
                  <c:v>379</c:v>
                </c:pt>
                <c:pt idx="2">
                  <c:v>241</c:v>
                </c:pt>
                <c:pt idx="3">
                  <c:v>255</c:v>
                </c:pt>
                <c:pt idx="4">
                  <c:v>80</c:v>
                </c:pt>
                <c:pt idx="5">
                  <c:v>82</c:v>
                </c:pt>
                <c:pt idx="6">
                  <c:v>61</c:v>
                </c:pt>
                <c:pt idx="7">
                  <c:v>82</c:v>
                </c:pt>
                <c:pt idx="8">
                  <c:v>54</c:v>
                </c:pt>
                <c:pt idx="9">
                  <c:v>52</c:v>
                </c:pt>
              </c:numCache>
            </c:numRef>
          </c:val>
          <c:extLst>
            <c:ext xmlns:c16="http://schemas.microsoft.com/office/drawing/2014/chart" uri="{C3380CC4-5D6E-409C-BE32-E72D297353CC}">
              <c16:uniqueId val="{00000005-823C-46FE-82D4-0E548AAD57C2}"/>
            </c:ext>
          </c:extLst>
        </c:ser>
        <c:dLbls>
          <c:showLegendKey val="0"/>
          <c:showVal val="0"/>
          <c:showCatName val="0"/>
          <c:showSerName val="0"/>
          <c:showPercent val="0"/>
          <c:showBubbleSize val="0"/>
        </c:dLbls>
        <c:gapWidth val="150"/>
        <c:axId val="2088530160"/>
        <c:axId val="2088523928"/>
      </c:barChart>
      <c:catAx>
        <c:axId val="1300485032"/>
        <c:scaling>
          <c:orientation val="minMax"/>
        </c:scaling>
        <c:delete val="0"/>
        <c:axPos val="b"/>
        <c:numFmt formatCode="yyyy\-mm"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00484376"/>
        <c:crosses val="autoZero"/>
        <c:auto val="1"/>
        <c:lblAlgn val="ctr"/>
        <c:lblOffset val="100"/>
        <c:noMultiLvlLbl val="0"/>
      </c:catAx>
      <c:valAx>
        <c:axId val="13004843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00485032"/>
        <c:crosses val="autoZero"/>
        <c:crossBetween val="between"/>
      </c:valAx>
      <c:valAx>
        <c:axId val="208852392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2088530160"/>
        <c:crosses val="max"/>
        <c:crossBetween val="between"/>
      </c:valAx>
      <c:catAx>
        <c:axId val="2088530160"/>
        <c:scaling>
          <c:orientation val="minMax"/>
        </c:scaling>
        <c:delete val="1"/>
        <c:axPos val="b"/>
        <c:numFmt formatCode="General" sourceLinked="1"/>
        <c:majorTickMark val="out"/>
        <c:minorTickMark val="none"/>
        <c:tickLblPos val="nextTo"/>
        <c:crossAx val="2088523928"/>
        <c:crosses val="autoZero"/>
        <c:auto val="1"/>
        <c:lblAlgn val="ctr"/>
        <c:lblOffset val="100"/>
        <c:noMultiLvlLbl val="0"/>
      </c:catAx>
      <c:spPr>
        <a:noFill/>
        <a:ln>
          <a:noFill/>
        </a:ln>
        <a:effectLst/>
      </c:spPr>
    </c:plotArea>
    <c:legend>
      <c:legendPos val="b"/>
      <c:legendEntry>
        <c:idx val="2"/>
        <c:delete val="1"/>
      </c:legendEntry>
      <c:legendEntry>
        <c:idx val="3"/>
        <c:delete val="1"/>
      </c:legendEntry>
      <c:legendEntry>
        <c:idx val="4"/>
        <c:delete val="1"/>
      </c:legendEntry>
      <c:legendEntry>
        <c:idx val="5"/>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Entry>
      <c:layout>
        <c:manualLayout>
          <c:xMode val="edge"/>
          <c:yMode val="edge"/>
          <c:x val="1.4722222222222222E-2"/>
          <c:y val="0.92028324584426946"/>
          <c:w val="0.96349999999999991"/>
          <c:h val="7.97167541557305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showDLblsOverMax val="0"/>
    <c:extLst/>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S&amp;P 500</c:v>
          </c:tx>
          <c:spPr>
            <a:ln w="28575" cap="rnd">
              <a:solidFill>
                <a:srgbClr val="FEE600"/>
              </a:solidFill>
              <a:round/>
            </a:ln>
            <a:effectLst/>
          </c:spPr>
          <c:marker>
            <c:symbol val="none"/>
          </c:marker>
          <c:cat>
            <c:numRef>
              <c:f>'Double Trouble'!$B$3:$B$5743</c:f>
              <c:numCache>
                <c:formatCode>m/d/yyyy</c:formatCode>
                <c:ptCount val="5741"/>
                <c:pt idx="0">
                  <c:v>36391</c:v>
                </c:pt>
                <c:pt idx="1">
                  <c:v>36392</c:v>
                </c:pt>
                <c:pt idx="2">
                  <c:v>36395</c:v>
                </c:pt>
                <c:pt idx="3">
                  <c:v>36396</c:v>
                </c:pt>
                <c:pt idx="4">
                  <c:v>36397</c:v>
                </c:pt>
                <c:pt idx="5">
                  <c:v>36398</c:v>
                </c:pt>
                <c:pt idx="6">
                  <c:v>36399</c:v>
                </c:pt>
                <c:pt idx="7">
                  <c:v>36402</c:v>
                </c:pt>
                <c:pt idx="8">
                  <c:v>36403</c:v>
                </c:pt>
                <c:pt idx="9">
                  <c:v>36404</c:v>
                </c:pt>
                <c:pt idx="10">
                  <c:v>36405</c:v>
                </c:pt>
                <c:pt idx="11">
                  <c:v>36406</c:v>
                </c:pt>
                <c:pt idx="12">
                  <c:v>36409</c:v>
                </c:pt>
                <c:pt idx="13">
                  <c:v>36410</c:v>
                </c:pt>
                <c:pt idx="14">
                  <c:v>36411</c:v>
                </c:pt>
                <c:pt idx="15">
                  <c:v>36412</c:v>
                </c:pt>
                <c:pt idx="16">
                  <c:v>36413</c:v>
                </c:pt>
                <c:pt idx="17">
                  <c:v>36416</c:v>
                </c:pt>
                <c:pt idx="18">
                  <c:v>36417</c:v>
                </c:pt>
                <c:pt idx="19">
                  <c:v>36418</c:v>
                </c:pt>
                <c:pt idx="20">
                  <c:v>36419</c:v>
                </c:pt>
                <c:pt idx="21">
                  <c:v>36420</c:v>
                </c:pt>
                <c:pt idx="22">
                  <c:v>36423</c:v>
                </c:pt>
                <c:pt idx="23">
                  <c:v>36424</c:v>
                </c:pt>
                <c:pt idx="24">
                  <c:v>36425</c:v>
                </c:pt>
                <c:pt idx="25">
                  <c:v>36426</c:v>
                </c:pt>
                <c:pt idx="26">
                  <c:v>36427</c:v>
                </c:pt>
                <c:pt idx="27">
                  <c:v>36430</c:v>
                </c:pt>
                <c:pt idx="28">
                  <c:v>36431</c:v>
                </c:pt>
                <c:pt idx="29">
                  <c:v>36432</c:v>
                </c:pt>
                <c:pt idx="30">
                  <c:v>36433</c:v>
                </c:pt>
                <c:pt idx="31">
                  <c:v>36434</c:v>
                </c:pt>
                <c:pt idx="32">
                  <c:v>36437</c:v>
                </c:pt>
                <c:pt idx="33">
                  <c:v>36438</c:v>
                </c:pt>
                <c:pt idx="34">
                  <c:v>36439</c:v>
                </c:pt>
                <c:pt idx="35">
                  <c:v>36440</c:v>
                </c:pt>
                <c:pt idx="36">
                  <c:v>36441</c:v>
                </c:pt>
                <c:pt idx="37">
                  <c:v>36444</c:v>
                </c:pt>
                <c:pt idx="38">
                  <c:v>36445</c:v>
                </c:pt>
                <c:pt idx="39">
                  <c:v>36446</c:v>
                </c:pt>
                <c:pt idx="40">
                  <c:v>36447</c:v>
                </c:pt>
                <c:pt idx="41">
                  <c:v>36448</c:v>
                </c:pt>
                <c:pt idx="42">
                  <c:v>36451</c:v>
                </c:pt>
                <c:pt idx="43">
                  <c:v>36452</c:v>
                </c:pt>
                <c:pt idx="44">
                  <c:v>36453</c:v>
                </c:pt>
                <c:pt idx="45">
                  <c:v>36454</c:v>
                </c:pt>
                <c:pt idx="46">
                  <c:v>36455</c:v>
                </c:pt>
                <c:pt idx="47">
                  <c:v>36458</c:v>
                </c:pt>
                <c:pt idx="48">
                  <c:v>36459</c:v>
                </c:pt>
                <c:pt idx="49">
                  <c:v>36460</c:v>
                </c:pt>
                <c:pt idx="50">
                  <c:v>36461</c:v>
                </c:pt>
                <c:pt idx="51">
                  <c:v>36462</c:v>
                </c:pt>
                <c:pt idx="52">
                  <c:v>36465</c:v>
                </c:pt>
                <c:pt idx="53">
                  <c:v>36466</c:v>
                </c:pt>
                <c:pt idx="54">
                  <c:v>36467</c:v>
                </c:pt>
                <c:pt idx="55">
                  <c:v>36468</c:v>
                </c:pt>
                <c:pt idx="56">
                  <c:v>36469</c:v>
                </c:pt>
                <c:pt idx="57">
                  <c:v>36472</c:v>
                </c:pt>
                <c:pt idx="58">
                  <c:v>36473</c:v>
                </c:pt>
                <c:pt idx="59">
                  <c:v>36474</c:v>
                </c:pt>
                <c:pt idx="60">
                  <c:v>36475</c:v>
                </c:pt>
                <c:pt idx="61">
                  <c:v>36476</c:v>
                </c:pt>
                <c:pt idx="62">
                  <c:v>36479</c:v>
                </c:pt>
                <c:pt idx="63">
                  <c:v>36480</c:v>
                </c:pt>
                <c:pt idx="64">
                  <c:v>36481</c:v>
                </c:pt>
                <c:pt idx="65">
                  <c:v>36482</c:v>
                </c:pt>
                <c:pt idx="66">
                  <c:v>36483</c:v>
                </c:pt>
                <c:pt idx="67">
                  <c:v>36486</c:v>
                </c:pt>
                <c:pt idx="68">
                  <c:v>36487</c:v>
                </c:pt>
                <c:pt idx="69">
                  <c:v>36488</c:v>
                </c:pt>
                <c:pt idx="70">
                  <c:v>36489</c:v>
                </c:pt>
                <c:pt idx="71">
                  <c:v>36490</c:v>
                </c:pt>
                <c:pt idx="72">
                  <c:v>36493</c:v>
                </c:pt>
                <c:pt idx="73">
                  <c:v>36494</c:v>
                </c:pt>
                <c:pt idx="74">
                  <c:v>36495</c:v>
                </c:pt>
                <c:pt idx="75">
                  <c:v>36496</c:v>
                </c:pt>
                <c:pt idx="76">
                  <c:v>36497</c:v>
                </c:pt>
                <c:pt idx="77">
                  <c:v>36500</c:v>
                </c:pt>
                <c:pt idx="78">
                  <c:v>36501</c:v>
                </c:pt>
                <c:pt idx="79">
                  <c:v>36502</c:v>
                </c:pt>
                <c:pt idx="80">
                  <c:v>36503</c:v>
                </c:pt>
                <c:pt idx="81">
                  <c:v>36504</c:v>
                </c:pt>
                <c:pt idx="82">
                  <c:v>36507</c:v>
                </c:pt>
                <c:pt idx="83">
                  <c:v>36508</c:v>
                </c:pt>
                <c:pt idx="84">
                  <c:v>36509</c:v>
                </c:pt>
                <c:pt idx="85">
                  <c:v>36510</c:v>
                </c:pt>
                <c:pt idx="86">
                  <c:v>36511</c:v>
                </c:pt>
                <c:pt idx="87">
                  <c:v>36514</c:v>
                </c:pt>
                <c:pt idx="88">
                  <c:v>36515</c:v>
                </c:pt>
                <c:pt idx="89">
                  <c:v>36516</c:v>
                </c:pt>
                <c:pt idx="90">
                  <c:v>36517</c:v>
                </c:pt>
                <c:pt idx="91">
                  <c:v>36518</c:v>
                </c:pt>
                <c:pt idx="92">
                  <c:v>36521</c:v>
                </c:pt>
                <c:pt idx="93">
                  <c:v>36522</c:v>
                </c:pt>
                <c:pt idx="94">
                  <c:v>36523</c:v>
                </c:pt>
                <c:pt idx="95">
                  <c:v>36524</c:v>
                </c:pt>
                <c:pt idx="96">
                  <c:v>36525</c:v>
                </c:pt>
                <c:pt idx="97">
                  <c:v>36528</c:v>
                </c:pt>
                <c:pt idx="98">
                  <c:v>36529</c:v>
                </c:pt>
                <c:pt idx="99">
                  <c:v>36530</c:v>
                </c:pt>
                <c:pt idx="100">
                  <c:v>36531</c:v>
                </c:pt>
                <c:pt idx="101">
                  <c:v>36532</c:v>
                </c:pt>
                <c:pt idx="102">
                  <c:v>36535</c:v>
                </c:pt>
                <c:pt idx="103">
                  <c:v>36536</c:v>
                </c:pt>
                <c:pt idx="104">
                  <c:v>36537</c:v>
                </c:pt>
                <c:pt idx="105">
                  <c:v>36538</c:v>
                </c:pt>
                <c:pt idx="106">
                  <c:v>36539</c:v>
                </c:pt>
                <c:pt idx="107">
                  <c:v>36542</c:v>
                </c:pt>
                <c:pt idx="108">
                  <c:v>36543</c:v>
                </c:pt>
                <c:pt idx="109">
                  <c:v>36544</c:v>
                </c:pt>
                <c:pt idx="110">
                  <c:v>36545</c:v>
                </c:pt>
                <c:pt idx="111">
                  <c:v>36546</c:v>
                </c:pt>
                <c:pt idx="112">
                  <c:v>36549</c:v>
                </c:pt>
                <c:pt idx="113">
                  <c:v>36550</c:v>
                </c:pt>
                <c:pt idx="114">
                  <c:v>36551</c:v>
                </c:pt>
                <c:pt idx="115">
                  <c:v>36552</c:v>
                </c:pt>
                <c:pt idx="116">
                  <c:v>36553</c:v>
                </c:pt>
                <c:pt idx="117">
                  <c:v>36556</c:v>
                </c:pt>
                <c:pt idx="118">
                  <c:v>36557</c:v>
                </c:pt>
                <c:pt idx="119">
                  <c:v>36558</c:v>
                </c:pt>
                <c:pt idx="120">
                  <c:v>36559</c:v>
                </c:pt>
                <c:pt idx="121">
                  <c:v>36560</c:v>
                </c:pt>
                <c:pt idx="122">
                  <c:v>36563</c:v>
                </c:pt>
                <c:pt idx="123">
                  <c:v>36564</c:v>
                </c:pt>
                <c:pt idx="124">
                  <c:v>36565</c:v>
                </c:pt>
                <c:pt idx="125">
                  <c:v>36566</c:v>
                </c:pt>
                <c:pt idx="126">
                  <c:v>36567</c:v>
                </c:pt>
                <c:pt idx="127">
                  <c:v>36570</c:v>
                </c:pt>
                <c:pt idx="128">
                  <c:v>36571</c:v>
                </c:pt>
                <c:pt idx="129">
                  <c:v>36572</c:v>
                </c:pt>
                <c:pt idx="130">
                  <c:v>36573</c:v>
                </c:pt>
                <c:pt idx="131">
                  <c:v>36574</c:v>
                </c:pt>
                <c:pt idx="132">
                  <c:v>36577</c:v>
                </c:pt>
                <c:pt idx="133">
                  <c:v>36578</c:v>
                </c:pt>
                <c:pt idx="134">
                  <c:v>36579</c:v>
                </c:pt>
                <c:pt idx="135">
                  <c:v>36580</c:v>
                </c:pt>
                <c:pt idx="136">
                  <c:v>36581</c:v>
                </c:pt>
                <c:pt idx="137">
                  <c:v>36584</c:v>
                </c:pt>
                <c:pt idx="138">
                  <c:v>36585</c:v>
                </c:pt>
                <c:pt idx="139">
                  <c:v>36586</c:v>
                </c:pt>
                <c:pt idx="140">
                  <c:v>36587</c:v>
                </c:pt>
                <c:pt idx="141">
                  <c:v>36588</c:v>
                </c:pt>
                <c:pt idx="142">
                  <c:v>36591</c:v>
                </c:pt>
                <c:pt idx="143">
                  <c:v>36592</c:v>
                </c:pt>
                <c:pt idx="144">
                  <c:v>36593</c:v>
                </c:pt>
                <c:pt idx="145">
                  <c:v>36594</c:v>
                </c:pt>
                <c:pt idx="146">
                  <c:v>36595</c:v>
                </c:pt>
                <c:pt idx="147">
                  <c:v>36598</c:v>
                </c:pt>
                <c:pt idx="148">
                  <c:v>36599</c:v>
                </c:pt>
                <c:pt idx="149">
                  <c:v>36600</c:v>
                </c:pt>
                <c:pt idx="150">
                  <c:v>36601</c:v>
                </c:pt>
                <c:pt idx="151">
                  <c:v>36602</c:v>
                </c:pt>
                <c:pt idx="152">
                  <c:v>36605</c:v>
                </c:pt>
                <c:pt idx="153">
                  <c:v>36606</c:v>
                </c:pt>
                <c:pt idx="154">
                  <c:v>36607</c:v>
                </c:pt>
                <c:pt idx="155">
                  <c:v>36608</c:v>
                </c:pt>
                <c:pt idx="156">
                  <c:v>36609</c:v>
                </c:pt>
                <c:pt idx="157">
                  <c:v>36612</c:v>
                </c:pt>
                <c:pt idx="158">
                  <c:v>36613</c:v>
                </c:pt>
                <c:pt idx="159">
                  <c:v>36614</c:v>
                </c:pt>
                <c:pt idx="160">
                  <c:v>36615</c:v>
                </c:pt>
                <c:pt idx="161">
                  <c:v>36616</c:v>
                </c:pt>
                <c:pt idx="162">
                  <c:v>36619</c:v>
                </c:pt>
                <c:pt idx="163">
                  <c:v>36620</c:v>
                </c:pt>
                <c:pt idx="164">
                  <c:v>36621</c:v>
                </c:pt>
                <c:pt idx="165">
                  <c:v>36622</c:v>
                </c:pt>
                <c:pt idx="166">
                  <c:v>36623</c:v>
                </c:pt>
                <c:pt idx="167">
                  <c:v>36626</c:v>
                </c:pt>
                <c:pt idx="168">
                  <c:v>36627</c:v>
                </c:pt>
                <c:pt idx="169">
                  <c:v>36628</c:v>
                </c:pt>
                <c:pt idx="170">
                  <c:v>36629</c:v>
                </c:pt>
                <c:pt idx="171">
                  <c:v>36630</c:v>
                </c:pt>
                <c:pt idx="172">
                  <c:v>36633</c:v>
                </c:pt>
                <c:pt idx="173">
                  <c:v>36634</c:v>
                </c:pt>
                <c:pt idx="174">
                  <c:v>36635</c:v>
                </c:pt>
                <c:pt idx="175">
                  <c:v>36636</c:v>
                </c:pt>
                <c:pt idx="176">
                  <c:v>36637</c:v>
                </c:pt>
                <c:pt idx="177">
                  <c:v>36640</c:v>
                </c:pt>
                <c:pt idx="178">
                  <c:v>36641</c:v>
                </c:pt>
                <c:pt idx="179">
                  <c:v>36642</c:v>
                </c:pt>
                <c:pt idx="180">
                  <c:v>36643</c:v>
                </c:pt>
                <c:pt idx="181">
                  <c:v>36644</c:v>
                </c:pt>
                <c:pt idx="182">
                  <c:v>36647</c:v>
                </c:pt>
                <c:pt idx="183">
                  <c:v>36648</c:v>
                </c:pt>
                <c:pt idx="184">
                  <c:v>36649</c:v>
                </c:pt>
                <c:pt idx="185">
                  <c:v>36650</c:v>
                </c:pt>
                <c:pt idx="186">
                  <c:v>36651</c:v>
                </c:pt>
                <c:pt idx="187">
                  <c:v>36654</c:v>
                </c:pt>
                <c:pt idx="188">
                  <c:v>36655</c:v>
                </c:pt>
                <c:pt idx="189">
                  <c:v>36656</c:v>
                </c:pt>
                <c:pt idx="190">
                  <c:v>36657</c:v>
                </c:pt>
                <c:pt idx="191">
                  <c:v>36658</c:v>
                </c:pt>
                <c:pt idx="192">
                  <c:v>36661</c:v>
                </c:pt>
                <c:pt idx="193">
                  <c:v>36662</c:v>
                </c:pt>
                <c:pt idx="194">
                  <c:v>36663</c:v>
                </c:pt>
                <c:pt idx="195">
                  <c:v>36664</c:v>
                </c:pt>
                <c:pt idx="196">
                  <c:v>36665</c:v>
                </c:pt>
                <c:pt idx="197">
                  <c:v>36668</c:v>
                </c:pt>
                <c:pt idx="198">
                  <c:v>36669</c:v>
                </c:pt>
                <c:pt idx="199">
                  <c:v>36670</c:v>
                </c:pt>
                <c:pt idx="200">
                  <c:v>36671</c:v>
                </c:pt>
                <c:pt idx="201">
                  <c:v>36672</c:v>
                </c:pt>
                <c:pt idx="202">
                  <c:v>36675</c:v>
                </c:pt>
                <c:pt idx="203">
                  <c:v>36676</c:v>
                </c:pt>
                <c:pt idx="204">
                  <c:v>36677</c:v>
                </c:pt>
                <c:pt idx="205">
                  <c:v>36678</c:v>
                </c:pt>
                <c:pt idx="206">
                  <c:v>36679</c:v>
                </c:pt>
                <c:pt idx="207">
                  <c:v>36682</c:v>
                </c:pt>
                <c:pt idx="208">
                  <c:v>36683</c:v>
                </c:pt>
                <c:pt idx="209">
                  <c:v>36684</c:v>
                </c:pt>
                <c:pt idx="210">
                  <c:v>36685</c:v>
                </c:pt>
                <c:pt idx="211">
                  <c:v>36686</c:v>
                </c:pt>
                <c:pt idx="212">
                  <c:v>36689</c:v>
                </c:pt>
                <c:pt idx="213">
                  <c:v>36690</c:v>
                </c:pt>
                <c:pt idx="214">
                  <c:v>36691</c:v>
                </c:pt>
                <c:pt idx="215">
                  <c:v>36692</c:v>
                </c:pt>
                <c:pt idx="216">
                  <c:v>36693</c:v>
                </c:pt>
                <c:pt idx="217">
                  <c:v>36696</c:v>
                </c:pt>
                <c:pt idx="218">
                  <c:v>36697</c:v>
                </c:pt>
                <c:pt idx="219">
                  <c:v>36698</c:v>
                </c:pt>
                <c:pt idx="220">
                  <c:v>36699</c:v>
                </c:pt>
                <c:pt idx="221">
                  <c:v>36700</c:v>
                </c:pt>
                <c:pt idx="222">
                  <c:v>36703</c:v>
                </c:pt>
                <c:pt idx="223">
                  <c:v>36704</c:v>
                </c:pt>
                <c:pt idx="224">
                  <c:v>36705</c:v>
                </c:pt>
                <c:pt idx="225">
                  <c:v>36706</c:v>
                </c:pt>
                <c:pt idx="226">
                  <c:v>36707</c:v>
                </c:pt>
                <c:pt idx="227">
                  <c:v>36710</c:v>
                </c:pt>
                <c:pt idx="228">
                  <c:v>36711</c:v>
                </c:pt>
                <c:pt idx="229">
                  <c:v>36712</c:v>
                </c:pt>
                <c:pt idx="230">
                  <c:v>36713</c:v>
                </c:pt>
                <c:pt idx="231">
                  <c:v>36714</c:v>
                </c:pt>
                <c:pt idx="232">
                  <c:v>36717</c:v>
                </c:pt>
                <c:pt idx="233">
                  <c:v>36718</c:v>
                </c:pt>
                <c:pt idx="234">
                  <c:v>36719</c:v>
                </c:pt>
                <c:pt idx="235">
                  <c:v>36720</c:v>
                </c:pt>
                <c:pt idx="236">
                  <c:v>36721</c:v>
                </c:pt>
                <c:pt idx="237">
                  <c:v>36724</c:v>
                </c:pt>
                <c:pt idx="238">
                  <c:v>36725</c:v>
                </c:pt>
                <c:pt idx="239">
                  <c:v>36726</c:v>
                </c:pt>
                <c:pt idx="240">
                  <c:v>36727</c:v>
                </c:pt>
                <c:pt idx="241">
                  <c:v>36728</c:v>
                </c:pt>
                <c:pt idx="242">
                  <c:v>36731</c:v>
                </c:pt>
                <c:pt idx="243">
                  <c:v>36732</c:v>
                </c:pt>
                <c:pt idx="244">
                  <c:v>36733</c:v>
                </c:pt>
                <c:pt idx="245">
                  <c:v>36734</c:v>
                </c:pt>
                <c:pt idx="246">
                  <c:v>36735</c:v>
                </c:pt>
                <c:pt idx="247">
                  <c:v>36738</c:v>
                </c:pt>
                <c:pt idx="248">
                  <c:v>36739</c:v>
                </c:pt>
                <c:pt idx="249">
                  <c:v>36740</c:v>
                </c:pt>
                <c:pt idx="250">
                  <c:v>36741</c:v>
                </c:pt>
                <c:pt idx="251">
                  <c:v>36742</c:v>
                </c:pt>
                <c:pt idx="252">
                  <c:v>36745</c:v>
                </c:pt>
                <c:pt idx="253">
                  <c:v>36746</c:v>
                </c:pt>
                <c:pt idx="254">
                  <c:v>36747</c:v>
                </c:pt>
                <c:pt idx="255">
                  <c:v>36748</c:v>
                </c:pt>
                <c:pt idx="256">
                  <c:v>36749</c:v>
                </c:pt>
                <c:pt idx="257">
                  <c:v>36752</c:v>
                </c:pt>
                <c:pt idx="258">
                  <c:v>36753</c:v>
                </c:pt>
                <c:pt idx="259">
                  <c:v>36754</c:v>
                </c:pt>
                <c:pt idx="260">
                  <c:v>36755</c:v>
                </c:pt>
                <c:pt idx="261">
                  <c:v>36756</c:v>
                </c:pt>
                <c:pt idx="262">
                  <c:v>36759</c:v>
                </c:pt>
                <c:pt idx="263">
                  <c:v>36760</c:v>
                </c:pt>
                <c:pt idx="264">
                  <c:v>36761</c:v>
                </c:pt>
                <c:pt idx="265">
                  <c:v>36762</c:v>
                </c:pt>
                <c:pt idx="266">
                  <c:v>36763</c:v>
                </c:pt>
                <c:pt idx="267">
                  <c:v>36766</c:v>
                </c:pt>
                <c:pt idx="268">
                  <c:v>36767</c:v>
                </c:pt>
                <c:pt idx="269">
                  <c:v>36768</c:v>
                </c:pt>
                <c:pt idx="270">
                  <c:v>36769</c:v>
                </c:pt>
                <c:pt idx="271">
                  <c:v>36770</c:v>
                </c:pt>
                <c:pt idx="272">
                  <c:v>36773</c:v>
                </c:pt>
                <c:pt idx="273">
                  <c:v>36774</c:v>
                </c:pt>
                <c:pt idx="274">
                  <c:v>36775</c:v>
                </c:pt>
                <c:pt idx="275">
                  <c:v>36776</c:v>
                </c:pt>
                <c:pt idx="276">
                  <c:v>36777</c:v>
                </c:pt>
                <c:pt idx="277">
                  <c:v>36780</c:v>
                </c:pt>
                <c:pt idx="278">
                  <c:v>36781</c:v>
                </c:pt>
                <c:pt idx="279">
                  <c:v>36782</c:v>
                </c:pt>
                <c:pt idx="280">
                  <c:v>36783</c:v>
                </c:pt>
                <c:pt idx="281">
                  <c:v>36784</c:v>
                </c:pt>
                <c:pt idx="282">
                  <c:v>36787</c:v>
                </c:pt>
                <c:pt idx="283">
                  <c:v>36788</c:v>
                </c:pt>
                <c:pt idx="284">
                  <c:v>36789</c:v>
                </c:pt>
                <c:pt idx="285">
                  <c:v>36790</c:v>
                </c:pt>
                <c:pt idx="286">
                  <c:v>36791</c:v>
                </c:pt>
                <c:pt idx="287">
                  <c:v>36794</c:v>
                </c:pt>
                <c:pt idx="288">
                  <c:v>36795</c:v>
                </c:pt>
                <c:pt idx="289">
                  <c:v>36796</c:v>
                </c:pt>
                <c:pt idx="290">
                  <c:v>36797</c:v>
                </c:pt>
                <c:pt idx="291">
                  <c:v>36798</c:v>
                </c:pt>
                <c:pt idx="292">
                  <c:v>36801</c:v>
                </c:pt>
                <c:pt idx="293">
                  <c:v>36802</c:v>
                </c:pt>
                <c:pt idx="294">
                  <c:v>36803</c:v>
                </c:pt>
                <c:pt idx="295">
                  <c:v>36804</c:v>
                </c:pt>
                <c:pt idx="296">
                  <c:v>36805</c:v>
                </c:pt>
                <c:pt idx="297">
                  <c:v>36808</c:v>
                </c:pt>
                <c:pt idx="298">
                  <c:v>36809</c:v>
                </c:pt>
                <c:pt idx="299">
                  <c:v>36810</c:v>
                </c:pt>
                <c:pt idx="300">
                  <c:v>36811</c:v>
                </c:pt>
                <c:pt idx="301">
                  <c:v>36812</c:v>
                </c:pt>
                <c:pt idx="302">
                  <c:v>36815</c:v>
                </c:pt>
                <c:pt idx="303">
                  <c:v>36816</c:v>
                </c:pt>
                <c:pt idx="304">
                  <c:v>36817</c:v>
                </c:pt>
                <c:pt idx="305">
                  <c:v>36818</c:v>
                </c:pt>
                <c:pt idx="306">
                  <c:v>36819</c:v>
                </c:pt>
                <c:pt idx="307">
                  <c:v>36822</c:v>
                </c:pt>
                <c:pt idx="308">
                  <c:v>36823</c:v>
                </c:pt>
                <c:pt idx="309">
                  <c:v>36824</c:v>
                </c:pt>
                <c:pt idx="310">
                  <c:v>36825</c:v>
                </c:pt>
                <c:pt idx="311">
                  <c:v>36826</c:v>
                </c:pt>
                <c:pt idx="312">
                  <c:v>36829</c:v>
                </c:pt>
                <c:pt idx="313">
                  <c:v>36830</c:v>
                </c:pt>
                <c:pt idx="314">
                  <c:v>36831</c:v>
                </c:pt>
                <c:pt idx="315">
                  <c:v>36832</c:v>
                </c:pt>
                <c:pt idx="316">
                  <c:v>36833</c:v>
                </c:pt>
                <c:pt idx="317">
                  <c:v>36836</c:v>
                </c:pt>
                <c:pt idx="318">
                  <c:v>36837</c:v>
                </c:pt>
                <c:pt idx="319">
                  <c:v>36838</c:v>
                </c:pt>
                <c:pt idx="320">
                  <c:v>36839</c:v>
                </c:pt>
                <c:pt idx="321">
                  <c:v>36840</c:v>
                </c:pt>
                <c:pt idx="322">
                  <c:v>36843</c:v>
                </c:pt>
                <c:pt idx="323">
                  <c:v>36844</c:v>
                </c:pt>
                <c:pt idx="324">
                  <c:v>36845</c:v>
                </c:pt>
                <c:pt idx="325">
                  <c:v>36846</c:v>
                </c:pt>
                <c:pt idx="326">
                  <c:v>36847</c:v>
                </c:pt>
                <c:pt idx="327">
                  <c:v>36850</c:v>
                </c:pt>
                <c:pt idx="328">
                  <c:v>36851</c:v>
                </c:pt>
                <c:pt idx="329">
                  <c:v>36852</c:v>
                </c:pt>
                <c:pt idx="330">
                  <c:v>36853</c:v>
                </c:pt>
                <c:pt idx="331">
                  <c:v>36854</c:v>
                </c:pt>
                <c:pt idx="332">
                  <c:v>36857</c:v>
                </c:pt>
                <c:pt idx="333">
                  <c:v>36858</c:v>
                </c:pt>
                <c:pt idx="334">
                  <c:v>36859</c:v>
                </c:pt>
                <c:pt idx="335">
                  <c:v>36860</c:v>
                </c:pt>
                <c:pt idx="336">
                  <c:v>36861</c:v>
                </c:pt>
                <c:pt idx="337">
                  <c:v>36864</c:v>
                </c:pt>
                <c:pt idx="338">
                  <c:v>36865</c:v>
                </c:pt>
                <c:pt idx="339">
                  <c:v>36866</c:v>
                </c:pt>
                <c:pt idx="340">
                  <c:v>36867</c:v>
                </c:pt>
                <c:pt idx="341">
                  <c:v>36868</c:v>
                </c:pt>
                <c:pt idx="342">
                  <c:v>36871</c:v>
                </c:pt>
                <c:pt idx="343">
                  <c:v>36872</c:v>
                </c:pt>
                <c:pt idx="344">
                  <c:v>36873</c:v>
                </c:pt>
                <c:pt idx="345">
                  <c:v>36874</c:v>
                </c:pt>
                <c:pt idx="346">
                  <c:v>36875</c:v>
                </c:pt>
                <c:pt idx="347">
                  <c:v>36878</c:v>
                </c:pt>
                <c:pt idx="348">
                  <c:v>36879</c:v>
                </c:pt>
                <c:pt idx="349">
                  <c:v>36880</c:v>
                </c:pt>
                <c:pt idx="350">
                  <c:v>36881</c:v>
                </c:pt>
                <c:pt idx="351">
                  <c:v>36882</c:v>
                </c:pt>
                <c:pt idx="352">
                  <c:v>36885</c:v>
                </c:pt>
                <c:pt idx="353">
                  <c:v>36886</c:v>
                </c:pt>
                <c:pt idx="354">
                  <c:v>36887</c:v>
                </c:pt>
                <c:pt idx="355">
                  <c:v>36888</c:v>
                </c:pt>
                <c:pt idx="356">
                  <c:v>36889</c:v>
                </c:pt>
                <c:pt idx="357">
                  <c:v>36892</c:v>
                </c:pt>
                <c:pt idx="358">
                  <c:v>36893</c:v>
                </c:pt>
                <c:pt idx="359">
                  <c:v>36894</c:v>
                </c:pt>
                <c:pt idx="360">
                  <c:v>36895</c:v>
                </c:pt>
                <c:pt idx="361">
                  <c:v>36896</c:v>
                </c:pt>
                <c:pt idx="362">
                  <c:v>36899</c:v>
                </c:pt>
                <c:pt idx="363">
                  <c:v>36900</c:v>
                </c:pt>
                <c:pt idx="364">
                  <c:v>36901</c:v>
                </c:pt>
                <c:pt idx="365">
                  <c:v>36902</c:v>
                </c:pt>
                <c:pt idx="366">
                  <c:v>36903</c:v>
                </c:pt>
                <c:pt idx="367">
                  <c:v>36906</c:v>
                </c:pt>
                <c:pt idx="368">
                  <c:v>36907</c:v>
                </c:pt>
                <c:pt idx="369">
                  <c:v>36908</c:v>
                </c:pt>
                <c:pt idx="370">
                  <c:v>36909</c:v>
                </c:pt>
                <c:pt idx="371">
                  <c:v>36910</c:v>
                </c:pt>
                <c:pt idx="372">
                  <c:v>36913</c:v>
                </c:pt>
                <c:pt idx="373">
                  <c:v>36914</c:v>
                </c:pt>
                <c:pt idx="374">
                  <c:v>36915</c:v>
                </c:pt>
                <c:pt idx="375">
                  <c:v>36916</c:v>
                </c:pt>
                <c:pt idx="376">
                  <c:v>36917</c:v>
                </c:pt>
                <c:pt idx="377">
                  <c:v>36920</c:v>
                </c:pt>
                <c:pt idx="378">
                  <c:v>36921</c:v>
                </c:pt>
                <c:pt idx="379">
                  <c:v>36922</c:v>
                </c:pt>
                <c:pt idx="380">
                  <c:v>36923</c:v>
                </c:pt>
                <c:pt idx="381">
                  <c:v>36924</c:v>
                </c:pt>
                <c:pt idx="382">
                  <c:v>36927</c:v>
                </c:pt>
                <c:pt idx="383">
                  <c:v>36928</c:v>
                </c:pt>
                <c:pt idx="384">
                  <c:v>36929</c:v>
                </c:pt>
                <c:pt idx="385">
                  <c:v>36930</c:v>
                </c:pt>
                <c:pt idx="386">
                  <c:v>36931</c:v>
                </c:pt>
                <c:pt idx="387">
                  <c:v>36934</c:v>
                </c:pt>
                <c:pt idx="388">
                  <c:v>36935</c:v>
                </c:pt>
                <c:pt idx="389">
                  <c:v>36936</c:v>
                </c:pt>
                <c:pt idx="390">
                  <c:v>36937</c:v>
                </c:pt>
                <c:pt idx="391">
                  <c:v>36938</c:v>
                </c:pt>
                <c:pt idx="392">
                  <c:v>36941</c:v>
                </c:pt>
                <c:pt idx="393">
                  <c:v>36942</c:v>
                </c:pt>
                <c:pt idx="394">
                  <c:v>36943</c:v>
                </c:pt>
                <c:pt idx="395">
                  <c:v>36944</c:v>
                </c:pt>
                <c:pt idx="396">
                  <c:v>36945</c:v>
                </c:pt>
                <c:pt idx="397">
                  <c:v>36948</c:v>
                </c:pt>
                <c:pt idx="398">
                  <c:v>36949</c:v>
                </c:pt>
                <c:pt idx="399">
                  <c:v>36950</c:v>
                </c:pt>
                <c:pt idx="400">
                  <c:v>36951</c:v>
                </c:pt>
                <c:pt idx="401">
                  <c:v>36952</c:v>
                </c:pt>
                <c:pt idx="402">
                  <c:v>36955</c:v>
                </c:pt>
                <c:pt idx="403">
                  <c:v>36956</c:v>
                </c:pt>
                <c:pt idx="404">
                  <c:v>36957</c:v>
                </c:pt>
                <c:pt idx="405">
                  <c:v>36958</c:v>
                </c:pt>
                <c:pt idx="406">
                  <c:v>36959</c:v>
                </c:pt>
                <c:pt idx="407">
                  <c:v>36962</c:v>
                </c:pt>
                <c:pt idx="408">
                  <c:v>36963</c:v>
                </c:pt>
                <c:pt idx="409">
                  <c:v>36964</c:v>
                </c:pt>
                <c:pt idx="410">
                  <c:v>36965</c:v>
                </c:pt>
                <c:pt idx="411">
                  <c:v>36966</c:v>
                </c:pt>
                <c:pt idx="412">
                  <c:v>36969</c:v>
                </c:pt>
                <c:pt idx="413">
                  <c:v>36970</c:v>
                </c:pt>
                <c:pt idx="414">
                  <c:v>36971</c:v>
                </c:pt>
                <c:pt idx="415">
                  <c:v>36972</c:v>
                </c:pt>
                <c:pt idx="416">
                  <c:v>36973</c:v>
                </c:pt>
                <c:pt idx="417">
                  <c:v>36976</c:v>
                </c:pt>
                <c:pt idx="418">
                  <c:v>36977</c:v>
                </c:pt>
                <c:pt idx="419">
                  <c:v>36978</c:v>
                </c:pt>
                <c:pt idx="420">
                  <c:v>36979</c:v>
                </c:pt>
                <c:pt idx="421">
                  <c:v>36980</c:v>
                </c:pt>
                <c:pt idx="422">
                  <c:v>36983</c:v>
                </c:pt>
                <c:pt idx="423">
                  <c:v>36984</c:v>
                </c:pt>
                <c:pt idx="424">
                  <c:v>36985</c:v>
                </c:pt>
                <c:pt idx="425">
                  <c:v>36986</c:v>
                </c:pt>
                <c:pt idx="426">
                  <c:v>36987</c:v>
                </c:pt>
                <c:pt idx="427">
                  <c:v>36990</c:v>
                </c:pt>
                <c:pt idx="428">
                  <c:v>36991</c:v>
                </c:pt>
                <c:pt idx="429">
                  <c:v>36992</c:v>
                </c:pt>
                <c:pt idx="430">
                  <c:v>36993</c:v>
                </c:pt>
                <c:pt idx="431">
                  <c:v>36994</c:v>
                </c:pt>
                <c:pt idx="432">
                  <c:v>36997</c:v>
                </c:pt>
                <c:pt idx="433">
                  <c:v>36998</c:v>
                </c:pt>
                <c:pt idx="434">
                  <c:v>36999</c:v>
                </c:pt>
                <c:pt idx="435">
                  <c:v>37000</c:v>
                </c:pt>
                <c:pt idx="436">
                  <c:v>37001</c:v>
                </c:pt>
                <c:pt idx="437">
                  <c:v>37004</c:v>
                </c:pt>
                <c:pt idx="438">
                  <c:v>37005</c:v>
                </c:pt>
                <c:pt idx="439">
                  <c:v>37006</c:v>
                </c:pt>
                <c:pt idx="440">
                  <c:v>37007</c:v>
                </c:pt>
                <c:pt idx="441">
                  <c:v>37008</c:v>
                </c:pt>
                <c:pt idx="442">
                  <c:v>37011</c:v>
                </c:pt>
                <c:pt idx="443">
                  <c:v>37012</c:v>
                </c:pt>
                <c:pt idx="444">
                  <c:v>37013</c:v>
                </c:pt>
                <c:pt idx="445">
                  <c:v>37014</c:v>
                </c:pt>
                <c:pt idx="446">
                  <c:v>37015</c:v>
                </c:pt>
                <c:pt idx="447">
                  <c:v>37018</c:v>
                </c:pt>
                <c:pt idx="448">
                  <c:v>37019</c:v>
                </c:pt>
                <c:pt idx="449">
                  <c:v>37020</c:v>
                </c:pt>
                <c:pt idx="450">
                  <c:v>37021</c:v>
                </c:pt>
                <c:pt idx="451">
                  <c:v>37022</c:v>
                </c:pt>
                <c:pt idx="452">
                  <c:v>37025</c:v>
                </c:pt>
                <c:pt idx="453">
                  <c:v>37026</c:v>
                </c:pt>
                <c:pt idx="454">
                  <c:v>37027</c:v>
                </c:pt>
                <c:pt idx="455">
                  <c:v>37028</c:v>
                </c:pt>
                <c:pt idx="456">
                  <c:v>37029</c:v>
                </c:pt>
                <c:pt idx="457">
                  <c:v>37032</c:v>
                </c:pt>
                <c:pt idx="458">
                  <c:v>37033</c:v>
                </c:pt>
                <c:pt idx="459">
                  <c:v>37034</c:v>
                </c:pt>
                <c:pt idx="460">
                  <c:v>37035</c:v>
                </c:pt>
                <c:pt idx="461">
                  <c:v>37036</c:v>
                </c:pt>
                <c:pt idx="462">
                  <c:v>37039</c:v>
                </c:pt>
                <c:pt idx="463">
                  <c:v>37040</c:v>
                </c:pt>
                <c:pt idx="464">
                  <c:v>37041</c:v>
                </c:pt>
                <c:pt idx="465">
                  <c:v>37042</c:v>
                </c:pt>
                <c:pt idx="466">
                  <c:v>37043</c:v>
                </c:pt>
                <c:pt idx="467">
                  <c:v>37046</c:v>
                </c:pt>
                <c:pt idx="468">
                  <c:v>37047</c:v>
                </c:pt>
                <c:pt idx="469">
                  <c:v>37048</c:v>
                </c:pt>
                <c:pt idx="470">
                  <c:v>37049</c:v>
                </c:pt>
                <c:pt idx="471">
                  <c:v>37050</c:v>
                </c:pt>
                <c:pt idx="472">
                  <c:v>37053</c:v>
                </c:pt>
                <c:pt idx="473">
                  <c:v>37054</c:v>
                </c:pt>
                <c:pt idx="474">
                  <c:v>37055</c:v>
                </c:pt>
                <c:pt idx="475">
                  <c:v>37056</c:v>
                </c:pt>
                <c:pt idx="476">
                  <c:v>37057</c:v>
                </c:pt>
                <c:pt idx="477">
                  <c:v>37060</c:v>
                </c:pt>
                <c:pt idx="478">
                  <c:v>37061</c:v>
                </c:pt>
                <c:pt idx="479">
                  <c:v>37062</c:v>
                </c:pt>
                <c:pt idx="480">
                  <c:v>37063</c:v>
                </c:pt>
                <c:pt idx="481">
                  <c:v>37064</c:v>
                </c:pt>
                <c:pt idx="482">
                  <c:v>37067</c:v>
                </c:pt>
                <c:pt idx="483">
                  <c:v>37068</c:v>
                </c:pt>
                <c:pt idx="484">
                  <c:v>37069</c:v>
                </c:pt>
                <c:pt idx="485">
                  <c:v>37070</c:v>
                </c:pt>
                <c:pt idx="486">
                  <c:v>37071</c:v>
                </c:pt>
                <c:pt idx="487">
                  <c:v>37074</c:v>
                </c:pt>
                <c:pt idx="488">
                  <c:v>37075</c:v>
                </c:pt>
                <c:pt idx="489">
                  <c:v>37076</c:v>
                </c:pt>
                <c:pt idx="490">
                  <c:v>37077</c:v>
                </c:pt>
                <c:pt idx="491">
                  <c:v>37078</c:v>
                </c:pt>
                <c:pt idx="492">
                  <c:v>37081</c:v>
                </c:pt>
                <c:pt idx="493">
                  <c:v>37082</c:v>
                </c:pt>
                <c:pt idx="494">
                  <c:v>37083</c:v>
                </c:pt>
                <c:pt idx="495">
                  <c:v>37084</c:v>
                </c:pt>
                <c:pt idx="496">
                  <c:v>37085</c:v>
                </c:pt>
                <c:pt idx="497">
                  <c:v>37088</c:v>
                </c:pt>
                <c:pt idx="498">
                  <c:v>37089</c:v>
                </c:pt>
                <c:pt idx="499">
                  <c:v>37090</c:v>
                </c:pt>
                <c:pt idx="500">
                  <c:v>37091</c:v>
                </c:pt>
                <c:pt idx="501">
                  <c:v>37092</c:v>
                </c:pt>
                <c:pt idx="502">
                  <c:v>37095</c:v>
                </c:pt>
                <c:pt idx="503">
                  <c:v>37096</c:v>
                </c:pt>
                <c:pt idx="504">
                  <c:v>37097</c:v>
                </c:pt>
                <c:pt idx="505">
                  <c:v>37098</c:v>
                </c:pt>
                <c:pt idx="506">
                  <c:v>37099</c:v>
                </c:pt>
                <c:pt idx="507">
                  <c:v>37102</c:v>
                </c:pt>
                <c:pt idx="508">
                  <c:v>37103</c:v>
                </c:pt>
                <c:pt idx="509">
                  <c:v>37104</c:v>
                </c:pt>
                <c:pt idx="510">
                  <c:v>37105</c:v>
                </c:pt>
                <c:pt idx="511">
                  <c:v>37106</c:v>
                </c:pt>
                <c:pt idx="512">
                  <c:v>37109</c:v>
                </c:pt>
                <c:pt idx="513">
                  <c:v>37110</c:v>
                </c:pt>
                <c:pt idx="514">
                  <c:v>37111</c:v>
                </c:pt>
                <c:pt idx="515">
                  <c:v>37112</c:v>
                </c:pt>
                <c:pt idx="516">
                  <c:v>37113</c:v>
                </c:pt>
                <c:pt idx="517">
                  <c:v>37116</c:v>
                </c:pt>
                <c:pt idx="518">
                  <c:v>37117</c:v>
                </c:pt>
                <c:pt idx="519">
                  <c:v>37118</c:v>
                </c:pt>
                <c:pt idx="520">
                  <c:v>37119</c:v>
                </c:pt>
                <c:pt idx="521">
                  <c:v>37120</c:v>
                </c:pt>
                <c:pt idx="522">
                  <c:v>37123</c:v>
                </c:pt>
                <c:pt idx="523">
                  <c:v>37124</c:v>
                </c:pt>
                <c:pt idx="524">
                  <c:v>37125</c:v>
                </c:pt>
                <c:pt idx="525">
                  <c:v>37126</c:v>
                </c:pt>
                <c:pt idx="526">
                  <c:v>37127</c:v>
                </c:pt>
                <c:pt idx="527">
                  <c:v>37130</c:v>
                </c:pt>
                <c:pt idx="528">
                  <c:v>37131</c:v>
                </c:pt>
                <c:pt idx="529">
                  <c:v>37132</c:v>
                </c:pt>
                <c:pt idx="530">
                  <c:v>37133</c:v>
                </c:pt>
                <c:pt idx="531">
                  <c:v>37134</c:v>
                </c:pt>
                <c:pt idx="532">
                  <c:v>37137</c:v>
                </c:pt>
                <c:pt idx="533">
                  <c:v>37138</c:v>
                </c:pt>
                <c:pt idx="534">
                  <c:v>37139</c:v>
                </c:pt>
                <c:pt idx="535">
                  <c:v>37140</c:v>
                </c:pt>
                <c:pt idx="536">
                  <c:v>37141</c:v>
                </c:pt>
                <c:pt idx="537">
                  <c:v>37144</c:v>
                </c:pt>
                <c:pt idx="538">
                  <c:v>37145</c:v>
                </c:pt>
                <c:pt idx="539">
                  <c:v>37146</c:v>
                </c:pt>
                <c:pt idx="540">
                  <c:v>37147</c:v>
                </c:pt>
                <c:pt idx="541">
                  <c:v>37148</c:v>
                </c:pt>
                <c:pt idx="542">
                  <c:v>37151</c:v>
                </c:pt>
                <c:pt idx="543">
                  <c:v>37152</c:v>
                </c:pt>
                <c:pt idx="544">
                  <c:v>37153</c:v>
                </c:pt>
                <c:pt idx="545">
                  <c:v>37154</c:v>
                </c:pt>
                <c:pt idx="546">
                  <c:v>37155</c:v>
                </c:pt>
                <c:pt idx="547">
                  <c:v>37158</c:v>
                </c:pt>
                <c:pt idx="548">
                  <c:v>37159</c:v>
                </c:pt>
                <c:pt idx="549">
                  <c:v>37160</c:v>
                </c:pt>
                <c:pt idx="550">
                  <c:v>37161</c:v>
                </c:pt>
                <c:pt idx="551">
                  <c:v>37162</c:v>
                </c:pt>
                <c:pt idx="552">
                  <c:v>37165</c:v>
                </c:pt>
                <c:pt idx="553">
                  <c:v>37166</c:v>
                </c:pt>
                <c:pt idx="554">
                  <c:v>37167</c:v>
                </c:pt>
                <c:pt idx="555">
                  <c:v>37168</c:v>
                </c:pt>
                <c:pt idx="556">
                  <c:v>37169</c:v>
                </c:pt>
                <c:pt idx="557">
                  <c:v>37172</c:v>
                </c:pt>
                <c:pt idx="558">
                  <c:v>37173</c:v>
                </c:pt>
                <c:pt idx="559">
                  <c:v>37174</c:v>
                </c:pt>
                <c:pt idx="560">
                  <c:v>37175</c:v>
                </c:pt>
                <c:pt idx="561">
                  <c:v>37176</c:v>
                </c:pt>
                <c:pt idx="562">
                  <c:v>37179</c:v>
                </c:pt>
                <c:pt idx="563">
                  <c:v>37180</c:v>
                </c:pt>
                <c:pt idx="564">
                  <c:v>37181</c:v>
                </c:pt>
                <c:pt idx="565">
                  <c:v>37182</c:v>
                </c:pt>
                <c:pt idx="566">
                  <c:v>37183</c:v>
                </c:pt>
                <c:pt idx="567">
                  <c:v>37186</c:v>
                </c:pt>
                <c:pt idx="568">
                  <c:v>37187</c:v>
                </c:pt>
                <c:pt idx="569">
                  <c:v>37188</c:v>
                </c:pt>
                <c:pt idx="570">
                  <c:v>37189</c:v>
                </c:pt>
                <c:pt idx="571">
                  <c:v>37190</c:v>
                </c:pt>
                <c:pt idx="572">
                  <c:v>37193</c:v>
                </c:pt>
                <c:pt idx="573">
                  <c:v>37194</c:v>
                </c:pt>
                <c:pt idx="574">
                  <c:v>37195</c:v>
                </c:pt>
                <c:pt idx="575">
                  <c:v>37196</c:v>
                </c:pt>
                <c:pt idx="576">
                  <c:v>37197</c:v>
                </c:pt>
                <c:pt idx="577">
                  <c:v>37200</c:v>
                </c:pt>
                <c:pt idx="578">
                  <c:v>37201</c:v>
                </c:pt>
                <c:pt idx="579">
                  <c:v>37202</c:v>
                </c:pt>
                <c:pt idx="580">
                  <c:v>37203</c:v>
                </c:pt>
                <c:pt idx="581">
                  <c:v>37204</c:v>
                </c:pt>
                <c:pt idx="582">
                  <c:v>37207</c:v>
                </c:pt>
                <c:pt idx="583">
                  <c:v>37208</c:v>
                </c:pt>
                <c:pt idx="584">
                  <c:v>37209</c:v>
                </c:pt>
                <c:pt idx="585">
                  <c:v>37210</c:v>
                </c:pt>
                <c:pt idx="586">
                  <c:v>37211</c:v>
                </c:pt>
                <c:pt idx="587">
                  <c:v>37214</c:v>
                </c:pt>
                <c:pt idx="588">
                  <c:v>37215</c:v>
                </c:pt>
                <c:pt idx="589">
                  <c:v>37216</c:v>
                </c:pt>
                <c:pt idx="590">
                  <c:v>37217</c:v>
                </c:pt>
                <c:pt idx="591">
                  <c:v>37218</c:v>
                </c:pt>
                <c:pt idx="592">
                  <c:v>37221</c:v>
                </c:pt>
                <c:pt idx="593">
                  <c:v>37222</c:v>
                </c:pt>
                <c:pt idx="594">
                  <c:v>37223</c:v>
                </c:pt>
                <c:pt idx="595">
                  <c:v>37224</c:v>
                </c:pt>
                <c:pt idx="596">
                  <c:v>37225</c:v>
                </c:pt>
                <c:pt idx="597">
                  <c:v>37228</c:v>
                </c:pt>
                <c:pt idx="598">
                  <c:v>37229</c:v>
                </c:pt>
                <c:pt idx="599">
                  <c:v>37230</c:v>
                </c:pt>
                <c:pt idx="600">
                  <c:v>37231</c:v>
                </c:pt>
                <c:pt idx="601">
                  <c:v>37232</c:v>
                </c:pt>
                <c:pt idx="602">
                  <c:v>37235</c:v>
                </c:pt>
                <c:pt idx="603">
                  <c:v>37236</c:v>
                </c:pt>
                <c:pt idx="604">
                  <c:v>37237</c:v>
                </c:pt>
                <c:pt idx="605">
                  <c:v>37238</c:v>
                </c:pt>
                <c:pt idx="606">
                  <c:v>37239</c:v>
                </c:pt>
                <c:pt idx="607">
                  <c:v>37242</c:v>
                </c:pt>
                <c:pt idx="608">
                  <c:v>37243</c:v>
                </c:pt>
                <c:pt idx="609">
                  <c:v>37244</c:v>
                </c:pt>
                <c:pt idx="610">
                  <c:v>37245</c:v>
                </c:pt>
                <c:pt idx="611">
                  <c:v>37246</c:v>
                </c:pt>
                <c:pt idx="612">
                  <c:v>37249</c:v>
                </c:pt>
                <c:pt idx="613">
                  <c:v>37250</c:v>
                </c:pt>
                <c:pt idx="614">
                  <c:v>37251</c:v>
                </c:pt>
                <c:pt idx="615">
                  <c:v>37252</c:v>
                </c:pt>
                <c:pt idx="616">
                  <c:v>37253</c:v>
                </c:pt>
                <c:pt idx="617">
                  <c:v>37256</c:v>
                </c:pt>
                <c:pt idx="618">
                  <c:v>37257</c:v>
                </c:pt>
                <c:pt idx="619">
                  <c:v>37258</c:v>
                </c:pt>
                <c:pt idx="620">
                  <c:v>37259</c:v>
                </c:pt>
                <c:pt idx="621">
                  <c:v>37260</c:v>
                </c:pt>
                <c:pt idx="622">
                  <c:v>37263</c:v>
                </c:pt>
                <c:pt idx="623">
                  <c:v>37264</c:v>
                </c:pt>
                <c:pt idx="624">
                  <c:v>37265</c:v>
                </c:pt>
                <c:pt idx="625">
                  <c:v>37266</c:v>
                </c:pt>
                <c:pt idx="626">
                  <c:v>37267</c:v>
                </c:pt>
                <c:pt idx="627">
                  <c:v>37270</c:v>
                </c:pt>
                <c:pt idx="628">
                  <c:v>37271</c:v>
                </c:pt>
                <c:pt idx="629">
                  <c:v>37272</c:v>
                </c:pt>
                <c:pt idx="630">
                  <c:v>37273</c:v>
                </c:pt>
                <c:pt idx="631">
                  <c:v>37274</c:v>
                </c:pt>
                <c:pt idx="632">
                  <c:v>37277</c:v>
                </c:pt>
                <c:pt idx="633">
                  <c:v>37278</c:v>
                </c:pt>
                <c:pt idx="634">
                  <c:v>37279</c:v>
                </c:pt>
                <c:pt idx="635">
                  <c:v>37280</c:v>
                </c:pt>
                <c:pt idx="636">
                  <c:v>37281</c:v>
                </c:pt>
                <c:pt idx="637">
                  <c:v>37284</c:v>
                </c:pt>
                <c:pt idx="638">
                  <c:v>37285</c:v>
                </c:pt>
                <c:pt idx="639">
                  <c:v>37286</c:v>
                </c:pt>
                <c:pt idx="640">
                  <c:v>37287</c:v>
                </c:pt>
                <c:pt idx="641">
                  <c:v>37288</c:v>
                </c:pt>
                <c:pt idx="642">
                  <c:v>37291</c:v>
                </c:pt>
                <c:pt idx="643">
                  <c:v>37292</c:v>
                </c:pt>
                <c:pt idx="644">
                  <c:v>37293</c:v>
                </c:pt>
                <c:pt idx="645">
                  <c:v>37294</c:v>
                </c:pt>
                <c:pt idx="646">
                  <c:v>37295</c:v>
                </c:pt>
                <c:pt idx="647">
                  <c:v>37298</c:v>
                </c:pt>
                <c:pt idx="648">
                  <c:v>37299</c:v>
                </c:pt>
                <c:pt idx="649">
                  <c:v>37300</c:v>
                </c:pt>
                <c:pt idx="650">
                  <c:v>37301</c:v>
                </c:pt>
                <c:pt idx="651">
                  <c:v>37302</c:v>
                </c:pt>
                <c:pt idx="652">
                  <c:v>37305</c:v>
                </c:pt>
                <c:pt idx="653">
                  <c:v>37306</c:v>
                </c:pt>
                <c:pt idx="654">
                  <c:v>37307</c:v>
                </c:pt>
                <c:pt idx="655">
                  <c:v>37308</c:v>
                </c:pt>
                <c:pt idx="656">
                  <c:v>37309</c:v>
                </c:pt>
                <c:pt idx="657">
                  <c:v>37312</c:v>
                </c:pt>
                <c:pt idx="658">
                  <c:v>37313</c:v>
                </c:pt>
                <c:pt idx="659">
                  <c:v>37314</c:v>
                </c:pt>
                <c:pt idx="660">
                  <c:v>37315</c:v>
                </c:pt>
                <c:pt idx="661">
                  <c:v>37316</c:v>
                </c:pt>
                <c:pt idx="662">
                  <c:v>37319</c:v>
                </c:pt>
                <c:pt idx="663">
                  <c:v>37320</c:v>
                </c:pt>
                <c:pt idx="664">
                  <c:v>37321</c:v>
                </c:pt>
                <c:pt idx="665">
                  <c:v>37322</c:v>
                </c:pt>
                <c:pt idx="666">
                  <c:v>37323</c:v>
                </c:pt>
                <c:pt idx="667">
                  <c:v>37326</c:v>
                </c:pt>
                <c:pt idx="668">
                  <c:v>37327</c:v>
                </c:pt>
                <c:pt idx="669">
                  <c:v>37328</c:v>
                </c:pt>
                <c:pt idx="670">
                  <c:v>37329</c:v>
                </c:pt>
                <c:pt idx="671">
                  <c:v>37330</c:v>
                </c:pt>
                <c:pt idx="672">
                  <c:v>37333</c:v>
                </c:pt>
                <c:pt idx="673">
                  <c:v>37334</c:v>
                </c:pt>
                <c:pt idx="674">
                  <c:v>37335</c:v>
                </c:pt>
                <c:pt idx="675">
                  <c:v>37336</c:v>
                </c:pt>
                <c:pt idx="676">
                  <c:v>37337</c:v>
                </c:pt>
                <c:pt idx="677">
                  <c:v>37340</c:v>
                </c:pt>
                <c:pt idx="678">
                  <c:v>37341</c:v>
                </c:pt>
                <c:pt idx="679">
                  <c:v>37342</c:v>
                </c:pt>
                <c:pt idx="680">
                  <c:v>37343</c:v>
                </c:pt>
                <c:pt idx="681">
                  <c:v>37344</c:v>
                </c:pt>
                <c:pt idx="682">
                  <c:v>37347</c:v>
                </c:pt>
                <c:pt idx="683">
                  <c:v>37348</c:v>
                </c:pt>
                <c:pt idx="684">
                  <c:v>37349</c:v>
                </c:pt>
                <c:pt idx="685">
                  <c:v>37350</c:v>
                </c:pt>
                <c:pt idx="686">
                  <c:v>37351</c:v>
                </c:pt>
                <c:pt idx="687">
                  <c:v>37354</c:v>
                </c:pt>
                <c:pt idx="688">
                  <c:v>37355</c:v>
                </c:pt>
                <c:pt idx="689">
                  <c:v>37356</c:v>
                </c:pt>
                <c:pt idx="690">
                  <c:v>37357</c:v>
                </c:pt>
                <c:pt idx="691">
                  <c:v>37358</c:v>
                </c:pt>
                <c:pt idx="692">
                  <c:v>37361</c:v>
                </c:pt>
                <c:pt idx="693">
                  <c:v>37362</c:v>
                </c:pt>
                <c:pt idx="694">
                  <c:v>37363</c:v>
                </c:pt>
                <c:pt idx="695">
                  <c:v>37364</c:v>
                </c:pt>
                <c:pt idx="696">
                  <c:v>37365</c:v>
                </c:pt>
                <c:pt idx="697">
                  <c:v>37368</c:v>
                </c:pt>
                <c:pt idx="698">
                  <c:v>37369</c:v>
                </c:pt>
                <c:pt idx="699">
                  <c:v>37370</c:v>
                </c:pt>
                <c:pt idx="700">
                  <c:v>37371</c:v>
                </c:pt>
                <c:pt idx="701">
                  <c:v>37372</c:v>
                </c:pt>
                <c:pt idx="702">
                  <c:v>37375</c:v>
                </c:pt>
                <c:pt idx="703">
                  <c:v>37376</c:v>
                </c:pt>
                <c:pt idx="704">
                  <c:v>37377</c:v>
                </c:pt>
                <c:pt idx="705">
                  <c:v>37378</c:v>
                </c:pt>
                <c:pt idx="706">
                  <c:v>37379</c:v>
                </c:pt>
                <c:pt idx="707">
                  <c:v>37382</c:v>
                </c:pt>
                <c:pt idx="708">
                  <c:v>37383</c:v>
                </c:pt>
                <c:pt idx="709">
                  <c:v>37384</c:v>
                </c:pt>
                <c:pt idx="710">
                  <c:v>37385</c:v>
                </c:pt>
                <c:pt idx="711">
                  <c:v>37386</c:v>
                </c:pt>
                <c:pt idx="712">
                  <c:v>37389</c:v>
                </c:pt>
                <c:pt idx="713">
                  <c:v>37390</c:v>
                </c:pt>
                <c:pt idx="714">
                  <c:v>37391</c:v>
                </c:pt>
                <c:pt idx="715">
                  <c:v>37392</c:v>
                </c:pt>
                <c:pt idx="716">
                  <c:v>37393</c:v>
                </c:pt>
                <c:pt idx="717">
                  <c:v>37396</c:v>
                </c:pt>
                <c:pt idx="718">
                  <c:v>37397</c:v>
                </c:pt>
                <c:pt idx="719">
                  <c:v>37398</c:v>
                </c:pt>
                <c:pt idx="720">
                  <c:v>37399</c:v>
                </c:pt>
                <c:pt idx="721">
                  <c:v>37400</c:v>
                </c:pt>
                <c:pt idx="722">
                  <c:v>37403</c:v>
                </c:pt>
                <c:pt idx="723">
                  <c:v>37404</c:v>
                </c:pt>
                <c:pt idx="724">
                  <c:v>37405</c:v>
                </c:pt>
                <c:pt idx="725">
                  <c:v>37406</c:v>
                </c:pt>
                <c:pt idx="726">
                  <c:v>37407</c:v>
                </c:pt>
                <c:pt idx="727">
                  <c:v>37410</c:v>
                </c:pt>
                <c:pt idx="728">
                  <c:v>37411</c:v>
                </c:pt>
                <c:pt idx="729">
                  <c:v>37412</c:v>
                </c:pt>
                <c:pt idx="730">
                  <c:v>37413</c:v>
                </c:pt>
                <c:pt idx="731">
                  <c:v>37414</c:v>
                </c:pt>
                <c:pt idx="732">
                  <c:v>37417</c:v>
                </c:pt>
                <c:pt idx="733">
                  <c:v>37418</c:v>
                </c:pt>
                <c:pt idx="734">
                  <c:v>37419</c:v>
                </c:pt>
                <c:pt idx="735">
                  <c:v>37420</c:v>
                </c:pt>
                <c:pt idx="736">
                  <c:v>37421</c:v>
                </c:pt>
                <c:pt idx="737">
                  <c:v>37424</c:v>
                </c:pt>
                <c:pt idx="738">
                  <c:v>37425</c:v>
                </c:pt>
                <c:pt idx="739">
                  <c:v>37426</c:v>
                </c:pt>
                <c:pt idx="740">
                  <c:v>37427</c:v>
                </c:pt>
                <c:pt idx="741">
                  <c:v>37428</c:v>
                </c:pt>
                <c:pt idx="742">
                  <c:v>37431</c:v>
                </c:pt>
                <c:pt idx="743">
                  <c:v>37432</c:v>
                </c:pt>
                <c:pt idx="744">
                  <c:v>37433</c:v>
                </c:pt>
                <c:pt idx="745">
                  <c:v>37434</c:v>
                </c:pt>
                <c:pt idx="746">
                  <c:v>37435</c:v>
                </c:pt>
                <c:pt idx="747">
                  <c:v>37438</c:v>
                </c:pt>
                <c:pt idx="748">
                  <c:v>37439</c:v>
                </c:pt>
                <c:pt idx="749">
                  <c:v>37440</c:v>
                </c:pt>
                <c:pt idx="750">
                  <c:v>37441</c:v>
                </c:pt>
                <c:pt idx="751">
                  <c:v>37442</c:v>
                </c:pt>
                <c:pt idx="752">
                  <c:v>37445</c:v>
                </c:pt>
                <c:pt idx="753">
                  <c:v>37446</c:v>
                </c:pt>
                <c:pt idx="754">
                  <c:v>37447</c:v>
                </c:pt>
                <c:pt idx="755">
                  <c:v>37448</c:v>
                </c:pt>
                <c:pt idx="756">
                  <c:v>37449</c:v>
                </c:pt>
                <c:pt idx="757">
                  <c:v>37452</c:v>
                </c:pt>
                <c:pt idx="758">
                  <c:v>37453</c:v>
                </c:pt>
                <c:pt idx="759">
                  <c:v>37454</c:v>
                </c:pt>
                <c:pt idx="760">
                  <c:v>37455</c:v>
                </c:pt>
                <c:pt idx="761">
                  <c:v>37456</c:v>
                </c:pt>
                <c:pt idx="762">
                  <c:v>37459</c:v>
                </c:pt>
                <c:pt idx="763">
                  <c:v>37460</c:v>
                </c:pt>
                <c:pt idx="764">
                  <c:v>37461</c:v>
                </c:pt>
                <c:pt idx="765">
                  <c:v>37462</c:v>
                </c:pt>
                <c:pt idx="766">
                  <c:v>37463</c:v>
                </c:pt>
                <c:pt idx="767">
                  <c:v>37466</c:v>
                </c:pt>
                <c:pt idx="768">
                  <c:v>37467</c:v>
                </c:pt>
                <c:pt idx="769">
                  <c:v>37468</c:v>
                </c:pt>
                <c:pt idx="770">
                  <c:v>37469</c:v>
                </c:pt>
                <c:pt idx="771">
                  <c:v>37470</c:v>
                </c:pt>
                <c:pt idx="772">
                  <c:v>37473</c:v>
                </c:pt>
                <c:pt idx="773">
                  <c:v>37474</c:v>
                </c:pt>
                <c:pt idx="774">
                  <c:v>37475</c:v>
                </c:pt>
                <c:pt idx="775">
                  <c:v>37476</c:v>
                </c:pt>
                <c:pt idx="776">
                  <c:v>37477</c:v>
                </c:pt>
                <c:pt idx="777">
                  <c:v>37480</c:v>
                </c:pt>
                <c:pt idx="778">
                  <c:v>37481</c:v>
                </c:pt>
                <c:pt idx="779">
                  <c:v>37482</c:v>
                </c:pt>
                <c:pt idx="780">
                  <c:v>37483</c:v>
                </c:pt>
                <c:pt idx="781">
                  <c:v>37484</c:v>
                </c:pt>
                <c:pt idx="782">
                  <c:v>37487</c:v>
                </c:pt>
                <c:pt idx="783">
                  <c:v>37488</c:v>
                </c:pt>
                <c:pt idx="784">
                  <c:v>37489</c:v>
                </c:pt>
                <c:pt idx="785">
                  <c:v>37490</c:v>
                </c:pt>
                <c:pt idx="786">
                  <c:v>37491</c:v>
                </c:pt>
                <c:pt idx="787">
                  <c:v>37494</c:v>
                </c:pt>
                <c:pt idx="788">
                  <c:v>37495</c:v>
                </c:pt>
                <c:pt idx="789">
                  <c:v>37496</c:v>
                </c:pt>
                <c:pt idx="790">
                  <c:v>37497</c:v>
                </c:pt>
                <c:pt idx="791">
                  <c:v>37498</c:v>
                </c:pt>
                <c:pt idx="792">
                  <c:v>37501</c:v>
                </c:pt>
                <c:pt idx="793">
                  <c:v>37502</c:v>
                </c:pt>
                <c:pt idx="794">
                  <c:v>37503</c:v>
                </c:pt>
                <c:pt idx="795">
                  <c:v>37504</c:v>
                </c:pt>
                <c:pt idx="796">
                  <c:v>37505</c:v>
                </c:pt>
                <c:pt idx="797">
                  <c:v>37508</c:v>
                </c:pt>
                <c:pt idx="798">
                  <c:v>37509</c:v>
                </c:pt>
                <c:pt idx="799">
                  <c:v>37510</c:v>
                </c:pt>
                <c:pt idx="800">
                  <c:v>37511</c:v>
                </c:pt>
                <c:pt idx="801">
                  <c:v>37512</c:v>
                </c:pt>
                <c:pt idx="802">
                  <c:v>37515</c:v>
                </c:pt>
                <c:pt idx="803">
                  <c:v>37516</c:v>
                </c:pt>
                <c:pt idx="804">
                  <c:v>37517</c:v>
                </c:pt>
                <c:pt idx="805">
                  <c:v>37518</c:v>
                </c:pt>
                <c:pt idx="806">
                  <c:v>37519</c:v>
                </c:pt>
                <c:pt idx="807">
                  <c:v>37522</c:v>
                </c:pt>
                <c:pt idx="808">
                  <c:v>37523</c:v>
                </c:pt>
                <c:pt idx="809">
                  <c:v>37524</c:v>
                </c:pt>
                <c:pt idx="810">
                  <c:v>37525</c:v>
                </c:pt>
                <c:pt idx="811">
                  <c:v>37526</c:v>
                </c:pt>
                <c:pt idx="812">
                  <c:v>37529</c:v>
                </c:pt>
                <c:pt idx="813">
                  <c:v>37530</c:v>
                </c:pt>
                <c:pt idx="814">
                  <c:v>37531</c:v>
                </c:pt>
                <c:pt idx="815">
                  <c:v>37532</c:v>
                </c:pt>
                <c:pt idx="816">
                  <c:v>37533</c:v>
                </c:pt>
                <c:pt idx="817">
                  <c:v>37536</c:v>
                </c:pt>
                <c:pt idx="818">
                  <c:v>37537</c:v>
                </c:pt>
                <c:pt idx="819">
                  <c:v>37538</c:v>
                </c:pt>
                <c:pt idx="820">
                  <c:v>37539</c:v>
                </c:pt>
                <c:pt idx="821">
                  <c:v>37540</c:v>
                </c:pt>
                <c:pt idx="822">
                  <c:v>37543</c:v>
                </c:pt>
                <c:pt idx="823">
                  <c:v>37544</c:v>
                </c:pt>
                <c:pt idx="824">
                  <c:v>37545</c:v>
                </c:pt>
                <c:pt idx="825">
                  <c:v>37546</c:v>
                </c:pt>
                <c:pt idx="826">
                  <c:v>37547</c:v>
                </c:pt>
                <c:pt idx="827">
                  <c:v>37550</c:v>
                </c:pt>
                <c:pt idx="828">
                  <c:v>37551</c:v>
                </c:pt>
                <c:pt idx="829">
                  <c:v>37552</c:v>
                </c:pt>
                <c:pt idx="830">
                  <c:v>37553</c:v>
                </c:pt>
                <c:pt idx="831">
                  <c:v>37554</c:v>
                </c:pt>
                <c:pt idx="832">
                  <c:v>37557</c:v>
                </c:pt>
                <c:pt idx="833">
                  <c:v>37558</c:v>
                </c:pt>
                <c:pt idx="834">
                  <c:v>37559</c:v>
                </c:pt>
                <c:pt idx="835">
                  <c:v>37560</c:v>
                </c:pt>
                <c:pt idx="836">
                  <c:v>37561</c:v>
                </c:pt>
                <c:pt idx="837">
                  <c:v>37564</c:v>
                </c:pt>
                <c:pt idx="838">
                  <c:v>37565</c:v>
                </c:pt>
                <c:pt idx="839">
                  <c:v>37566</c:v>
                </c:pt>
                <c:pt idx="840">
                  <c:v>37567</c:v>
                </c:pt>
                <c:pt idx="841">
                  <c:v>37568</c:v>
                </c:pt>
                <c:pt idx="842">
                  <c:v>37571</c:v>
                </c:pt>
                <c:pt idx="843">
                  <c:v>37572</c:v>
                </c:pt>
                <c:pt idx="844">
                  <c:v>37573</c:v>
                </c:pt>
                <c:pt idx="845">
                  <c:v>37574</c:v>
                </c:pt>
                <c:pt idx="846">
                  <c:v>37575</c:v>
                </c:pt>
                <c:pt idx="847">
                  <c:v>37578</c:v>
                </c:pt>
                <c:pt idx="848">
                  <c:v>37579</c:v>
                </c:pt>
                <c:pt idx="849">
                  <c:v>37580</c:v>
                </c:pt>
                <c:pt idx="850">
                  <c:v>37581</c:v>
                </c:pt>
                <c:pt idx="851">
                  <c:v>37582</c:v>
                </c:pt>
                <c:pt idx="852">
                  <c:v>37585</c:v>
                </c:pt>
                <c:pt idx="853">
                  <c:v>37586</c:v>
                </c:pt>
                <c:pt idx="854">
                  <c:v>37587</c:v>
                </c:pt>
                <c:pt idx="855">
                  <c:v>37588</c:v>
                </c:pt>
                <c:pt idx="856">
                  <c:v>37589</c:v>
                </c:pt>
                <c:pt idx="857">
                  <c:v>37592</c:v>
                </c:pt>
                <c:pt idx="858">
                  <c:v>37593</c:v>
                </c:pt>
                <c:pt idx="859">
                  <c:v>37594</c:v>
                </c:pt>
                <c:pt idx="860">
                  <c:v>37595</c:v>
                </c:pt>
                <c:pt idx="861">
                  <c:v>37596</c:v>
                </c:pt>
                <c:pt idx="862">
                  <c:v>37599</c:v>
                </c:pt>
                <c:pt idx="863">
                  <c:v>37600</c:v>
                </c:pt>
                <c:pt idx="864">
                  <c:v>37601</c:v>
                </c:pt>
                <c:pt idx="865">
                  <c:v>37602</c:v>
                </c:pt>
                <c:pt idx="866">
                  <c:v>37603</c:v>
                </c:pt>
                <c:pt idx="867">
                  <c:v>37606</c:v>
                </c:pt>
                <c:pt idx="868">
                  <c:v>37607</c:v>
                </c:pt>
                <c:pt idx="869">
                  <c:v>37608</c:v>
                </c:pt>
                <c:pt idx="870">
                  <c:v>37609</c:v>
                </c:pt>
                <c:pt idx="871">
                  <c:v>37610</c:v>
                </c:pt>
                <c:pt idx="872">
                  <c:v>37613</c:v>
                </c:pt>
                <c:pt idx="873">
                  <c:v>37614</c:v>
                </c:pt>
                <c:pt idx="874">
                  <c:v>37615</c:v>
                </c:pt>
                <c:pt idx="875">
                  <c:v>37616</c:v>
                </c:pt>
                <c:pt idx="876">
                  <c:v>37617</c:v>
                </c:pt>
                <c:pt idx="877">
                  <c:v>37620</c:v>
                </c:pt>
                <c:pt idx="878">
                  <c:v>37621</c:v>
                </c:pt>
                <c:pt idx="879">
                  <c:v>37622</c:v>
                </c:pt>
                <c:pt idx="880">
                  <c:v>37623</c:v>
                </c:pt>
                <c:pt idx="881">
                  <c:v>37624</c:v>
                </c:pt>
                <c:pt idx="882">
                  <c:v>37627</c:v>
                </c:pt>
                <c:pt idx="883">
                  <c:v>37628</c:v>
                </c:pt>
                <c:pt idx="884">
                  <c:v>37629</c:v>
                </c:pt>
                <c:pt idx="885">
                  <c:v>37630</c:v>
                </c:pt>
                <c:pt idx="886">
                  <c:v>37631</c:v>
                </c:pt>
                <c:pt idx="887">
                  <c:v>37634</c:v>
                </c:pt>
                <c:pt idx="888">
                  <c:v>37635</c:v>
                </c:pt>
                <c:pt idx="889">
                  <c:v>37636</c:v>
                </c:pt>
                <c:pt idx="890">
                  <c:v>37637</c:v>
                </c:pt>
                <c:pt idx="891">
                  <c:v>37638</c:v>
                </c:pt>
                <c:pt idx="892">
                  <c:v>37641</c:v>
                </c:pt>
                <c:pt idx="893">
                  <c:v>37642</c:v>
                </c:pt>
                <c:pt idx="894">
                  <c:v>37643</c:v>
                </c:pt>
                <c:pt idx="895">
                  <c:v>37644</c:v>
                </c:pt>
                <c:pt idx="896">
                  <c:v>37645</c:v>
                </c:pt>
                <c:pt idx="897">
                  <c:v>37648</c:v>
                </c:pt>
                <c:pt idx="898">
                  <c:v>37649</c:v>
                </c:pt>
                <c:pt idx="899">
                  <c:v>37650</c:v>
                </c:pt>
                <c:pt idx="900">
                  <c:v>37651</c:v>
                </c:pt>
                <c:pt idx="901">
                  <c:v>37652</c:v>
                </c:pt>
                <c:pt idx="902">
                  <c:v>37655</c:v>
                </c:pt>
                <c:pt idx="903">
                  <c:v>37656</c:v>
                </c:pt>
                <c:pt idx="904">
                  <c:v>37657</c:v>
                </c:pt>
                <c:pt idx="905">
                  <c:v>37658</c:v>
                </c:pt>
                <c:pt idx="906">
                  <c:v>37659</c:v>
                </c:pt>
                <c:pt idx="907">
                  <c:v>37662</c:v>
                </c:pt>
                <c:pt idx="908">
                  <c:v>37663</c:v>
                </c:pt>
                <c:pt idx="909">
                  <c:v>37664</c:v>
                </c:pt>
                <c:pt idx="910">
                  <c:v>37665</c:v>
                </c:pt>
                <c:pt idx="911">
                  <c:v>37666</c:v>
                </c:pt>
                <c:pt idx="912">
                  <c:v>37669</c:v>
                </c:pt>
                <c:pt idx="913">
                  <c:v>37670</c:v>
                </c:pt>
                <c:pt idx="914">
                  <c:v>37671</c:v>
                </c:pt>
                <c:pt idx="915">
                  <c:v>37672</c:v>
                </c:pt>
                <c:pt idx="916">
                  <c:v>37673</c:v>
                </c:pt>
                <c:pt idx="917">
                  <c:v>37676</c:v>
                </c:pt>
                <c:pt idx="918">
                  <c:v>37677</c:v>
                </c:pt>
                <c:pt idx="919">
                  <c:v>37678</c:v>
                </c:pt>
                <c:pt idx="920">
                  <c:v>37679</c:v>
                </c:pt>
                <c:pt idx="921">
                  <c:v>37680</c:v>
                </c:pt>
                <c:pt idx="922">
                  <c:v>37683</c:v>
                </c:pt>
                <c:pt idx="923">
                  <c:v>37684</c:v>
                </c:pt>
                <c:pt idx="924">
                  <c:v>37685</c:v>
                </c:pt>
                <c:pt idx="925">
                  <c:v>37686</c:v>
                </c:pt>
                <c:pt idx="926">
                  <c:v>37687</c:v>
                </c:pt>
                <c:pt idx="927">
                  <c:v>37690</c:v>
                </c:pt>
                <c:pt idx="928">
                  <c:v>37691</c:v>
                </c:pt>
                <c:pt idx="929">
                  <c:v>37692</c:v>
                </c:pt>
                <c:pt idx="930">
                  <c:v>37693</c:v>
                </c:pt>
                <c:pt idx="931">
                  <c:v>37694</c:v>
                </c:pt>
                <c:pt idx="932">
                  <c:v>37697</c:v>
                </c:pt>
                <c:pt idx="933">
                  <c:v>37698</c:v>
                </c:pt>
                <c:pt idx="934">
                  <c:v>37699</c:v>
                </c:pt>
                <c:pt idx="935">
                  <c:v>37700</c:v>
                </c:pt>
                <c:pt idx="936">
                  <c:v>37701</c:v>
                </c:pt>
                <c:pt idx="937">
                  <c:v>37704</c:v>
                </c:pt>
                <c:pt idx="938">
                  <c:v>37705</c:v>
                </c:pt>
                <c:pt idx="939">
                  <c:v>37706</c:v>
                </c:pt>
                <c:pt idx="940">
                  <c:v>37707</c:v>
                </c:pt>
                <c:pt idx="941">
                  <c:v>37708</c:v>
                </c:pt>
                <c:pt idx="942">
                  <c:v>37711</c:v>
                </c:pt>
                <c:pt idx="943">
                  <c:v>37712</c:v>
                </c:pt>
                <c:pt idx="944">
                  <c:v>37713</c:v>
                </c:pt>
                <c:pt idx="945">
                  <c:v>37714</c:v>
                </c:pt>
                <c:pt idx="946">
                  <c:v>37715</c:v>
                </c:pt>
                <c:pt idx="947">
                  <c:v>37718</c:v>
                </c:pt>
                <c:pt idx="948">
                  <c:v>37719</c:v>
                </c:pt>
                <c:pt idx="949">
                  <c:v>37720</c:v>
                </c:pt>
                <c:pt idx="950">
                  <c:v>37721</c:v>
                </c:pt>
                <c:pt idx="951">
                  <c:v>37722</c:v>
                </c:pt>
                <c:pt idx="952">
                  <c:v>37725</c:v>
                </c:pt>
                <c:pt idx="953">
                  <c:v>37726</c:v>
                </c:pt>
                <c:pt idx="954">
                  <c:v>37727</c:v>
                </c:pt>
                <c:pt idx="955">
                  <c:v>37728</c:v>
                </c:pt>
                <c:pt idx="956">
                  <c:v>37729</c:v>
                </c:pt>
                <c:pt idx="957">
                  <c:v>37732</c:v>
                </c:pt>
                <c:pt idx="958">
                  <c:v>37733</c:v>
                </c:pt>
                <c:pt idx="959">
                  <c:v>37734</c:v>
                </c:pt>
                <c:pt idx="960">
                  <c:v>37735</c:v>
                </c:pt>
                <c:pt idx="961">
                  <c:v>37736</c:v>
                </c:pt>
                <c:pt idx="962">
                  <c:v>37739</c:v>
                </c:pt>
                <c:pt idx="963">
                  <c:v>37740</c:v>
                </c:pt>
                <c:pt idx="964">
                  <c:v>37741</c:v>
                </c:pt>
                <c:pt idx="965">
                  <c:v>37742</c:v>
                </c:pt>
                <c:pt idx="966">
                  <c:v>37743</c:v>
                </c:pt>
                <c:pt idx="967">
                  <c:v>37746</c:v>
                </c:pt>
                <c:pt idx="968">
                  <c:v>37747</c:v>
                </c:pt>
                <c:pt idx="969">
                  <c:v>37748</c:v>
                </c:pt>
                <c:pt idx="970">
                  <c:v>37749</c:v>
                </c:pt>
                <c:pt idx="971">
                  <c:v>37750</c:v>
                </c:pt>
                <c:pt idx="972">
                  <c:v>37753</c:v>
                </c:pt>
                <c:pt idx="973">
                  <c:v>37754</c:v>
                </c:pt>
                <c:pt idx="974">
                  <c:v>37755</c:v>
                </c:pt>
                <c:pt idx="975">
                  <c:v>37756</c:v>
                </c:pt>
                <c:pt idx="976">
                  <c:v>37757</c:v>
                </c:pt>
                <c:pt idx="977">
                  <c:v>37760</c:v>
                </c:pt>
                <c:pt idx="978">
                  <c:v>37761</c:v>
                </c:pt>
                <c:pt idx="979">
                  <c:v>37762</c:v>
                </c:pt>
                <c:pt idx="980">
                  <c:v>37763</c:v>
                </c:pt>
                <c:pt idx="981">
                  <c:v>37764</c:v>
                </c:pt>
                <c:pt idx="982">
                  <c:v>37767</c:v>
                </c:pt>
                <c:pt idx="983">
                  <c:v>37768</c:v>
                </c:pt>
                <c:pt idx="984">
                  <c:v>37769</c:v>
                </c:pt>
                <c:pt idx="985">
                  <c:v>37770</c:v>
                </c:pt>
                <c:pt idx="986">
                  <c:v>37771</c:v>
                </c:pt>
                <c:pt idx="987">
                  <c:v>37774</c:v>
                </c:pt>
                <c:pt idx="988">
                  <c:v>37775</c:v>
                </c:pt>
                <c:pt idx="989">
                  <c:v>37776</c:v>
                </c:pt>
                <c:pt idx="990">
                  <c:v>37777</c:v>
                </c:pt>
                <c:pt idx="991">
                  <c:v>37778</c:v>
                </c:pt>
                <c:pt idx="992">
                  <c:v>37781</c:v>
                </c:pt>
                <c:pt idx="993">
                  <c:v>37782</c:v>
                </c:pt>
                <c:pt idx="994">
                  <c:v>37783</c:v>
                </c:pt>
                <c:pt idx="995">
                  <c:v>37784</c:v>
                </c:pt>
                <c:pt idx="996">
                  <c:v>37785</c:v>
                </c:pt>
                <c:pt idx="997">
                  <c:v>37788</c:v>
                </c:pt>
                <c:pt idx="998">
                  <c:v>37789</c:v>
                </c:pt>
                <c:pt idx="999">
                  <c:v>37790</c:v>
                </c:pt>
                <c:pt idx="1000">
                  <c:v>37791</c:v>
                </c:pt>
                <c:pt idx="1001">
                  <c:v>37792</c:v>
                </c:pt>
                <c:pt idx="1002">
                  <c:v>37795</c:v>
                </c:pt>
                <c:pt idx="1003">
                  <c:v>37796</c:v>
                </c:pt>
                <c:pt idx="1004">
                  <c:v>37797</c:v>
                </c:pt>
                <c:pt idx="1005">
                  <c:v>37798</c:v>
                </c:pt>
                <c:pt idx="1006">
                  <c:v>37799</c:v>
                </c:pt>
                <c:pt idx="1007">
                  <c:v>37802</c:v>
                </c:pt>
                <c:pt idx="1008">
                  <c:v>37803</c:v>
                </c:pt>
                <c:pt idx="1009">
                  <c:v>37804</c:v>
                </c:pt>
                <c:pt idx="1010">
                  <c:v>37805</c:v>
                </c:pt>
                <c:pt idx="1011">
                  <c:v>37806</c:v>
                </c:pt>
                <c:pt idx="1012">
                  <c:v>37809</c:v>
                </c:pt>
                <c:pt idx="1013">
                  <c:v>37810</c:v>
                </c:pt>
                <c:pt idx="1014">
                  <c:v>37811</c:v>
                </c:pt>
                <c:pt idx="1015">
                  <c:v>37812</c:v>
                </c:pt>
                <c:pt idx="1016">
                  <c:v>37813</c:v>
                </c:pt>
                <c:pt idx="1017">
                  <c:v>37816</c:v>
                </c:pt>
                <c:pt idx="1018">
                  <c:v>37817</c:v>
                </c:pt>
                <c:pt idx="1019">
                  <c:v>37818</c:v>
                </c:pt>
                <c:pt idx="1020">
                  <c:v>37819</c:v>
                </c:pt>
                <c:pt idx="1021">
                  <c:v>37820</c:v>
                </c:pt>
                <c:pt idx="1022">
                  <c:v>37823</c:v>
                </c:pt>
                <c:pt idx="1023">
                  <c:v>37824</c:v>
                </c:pt>
                <c:pt idx="1024">
                  <c:v>37825</c:v>
                </c:pt>
                <c:pt idx="1025">
                  <c:v>37826</c:v>
                </c:pt>
                <c:pt idx="1026">
                  <c:v>37827</c:v>
                </c:pt>
                <c:pt idx="1027">
                  <c:v>37830</c:v>
                </c:pt>
                <c:pt idx="1028">
                  <c:v>37831</c:v>
                </c:pt>
                <c:pt idx="1029">
                  <c:v>37832</c:v>
                </c:pt>
                <c:pt idx="1030">
                  <c:v>37833</c:v>
                </c:pt>
                <c:pt idx="1031">
                  <c:v>37834</c:v>
                </c:pt>
                <c:pt idx="1032">
                  <c:v>37837</c:v>
                </c:pt>
                <c:pt idx="1033">
                  <c:v>37838</c:v>
                </c:pt>
                <c:pt idx="1034">
                  <c:v>37839</c:v>
                </c:pt>
                <c:pt idx="1035">
                  <c:v>37840</c:v>
                </c:pt>
                <c:pt idx="1036">
                  <c:v>37841</c:v>
                </c:pt>
                <c:pt idx="1037">
                  <c:v>37844</c:v>
                </c:pt>
                <c:pt idx="1038">
                  <c:v>37845</c:v>
                </c:pt>
                <c:pt idx="1039">
                  <c:v>37846</c:v>
                </c:pt>
                <c:pt idx="1040">
                  <c:v>37847</c:v>
                </c:pt>
                <c:pt idx="1041">
                  <c:v>37848</c:v>
                </c:pt>
                <c:pt idx="1042">
                  <c:v>37851</c:v>
                </c:pt>
                <c:pt idx="1043">
                  <c:v>37852</c:v>
                </c:pt>
                <c:pt idx="1044">
                  <c:v>37853</c:v>
                </c:pt>
                <c:pt idx="1045">
                  <c:v>37854</c:v>
                </c:pt>
                <c:pt idx="1046">
                  <c:v>37855</c:v>
                </c:pt>
                <c:pt idx="1047">
                  <c:v>37858</c:v>
                </c:pt>
                <c:pt idx="1048">
                  <c:v>37859</c:v>
                </c:pt>
                <c:pt idx="1049">
                  <c:v>37860</c:v>
                </c:pt>
                <c:pt idx="1050">
                  <c:v>37861</c:v>
                </c:pt>
                <c:pt idx="1051">
                  <c:v>37862</c:v>
                </c:pt>
                <c:pt idx="1052">
                  <c:v>37865</c:v>
                </c:pt>
                <c:pt idx="1053">
                  <c:v>37866</c:v>
                </c:pt>
                <c:pt idx="1054">
                  <c:v>37867</c:v>
                </c:pt>
                <c:pt idx="1055">
                  <c:v>37868</c:v>
                </c:pt>
                <c:pt idx="1056">
                  <c:v>37869</c:v>
                </c:pt>
                <c:pt idx="1057">
                  <c:v>37872</c:v>
                </c:pt>
                <c:pt idx="1058">
                  <c:v>37873</c:v>
                </c:pt>
                <c:pt idx="1059">
                  <c:v>37874</c:v>
                </c:pt>
                <c:pt idx="1060">
                  <c:v>37875</c:v>
                </c:pt>
                <c:pt idx="1061">
                  <c:v>37876</c:v>
                </c:pt>
                <c:pt idx="1062">
                  <c:v>37879</c:v>
                </c:pt>
                <c:pt idx="1063">
                  <c:v>37880</c:v>
                </c:pt>
                <c:pt idx="1064">
                  <c:v>37881</c:v>
                </c:pt>
                <c:pt idx="1065">
                  <c:v>37882</c:v>
                </c:pt>
                <c:pt idx="1066">
                  <c:v>37883</c:v>
                </c:pt>
                <c:pt idx="1067">
                  <c:v>37886</c:v>
                </c:pt>
                <c:pt idx="1068">
                  <c:v>37887</c:v>
                </c:pt>
                <c:pt idx="1069">
                  <c:v>37888</c:v>
                </c:pt>
                <c:pt idx="1070">
                  <c:v>37889</c:v>
                </c:pt>
                <c:pt idx="1071">
                  <c:v>37890</c:v>
                </c:pt>
                <c:pt idx="1072">
                  <c:v>37893</c:v>
                </c:pt>
                <c:pt idx="1073">
                  <c:v>37894</c:v>
                </c:pt>
                <c:pt idx="1074">
                  <c:v>37895</c:v>
                </c:pt>
                <c:pt idx="1075">
                  <c:v>37896</c:v>
                </c:pt>
                <c:pt idx="1076">
                  <c:v>37897</c:v>
                </c:pt>
                <c:pt idx="1077">
                  <c:v>37900</c:v>
                </c:pt>
                <c:pt idx="1078">
                  <c:v>37901</c:v>
                </c:pt>
                <c:pt idx="1079">
                  <c:v>37902</c:v>
                </c:pt>
                <c:pt idx="1080">
                  <c:v>37903</c:v>
                </c:pt>
                <c:pt idx="1081">
                  <c:v>37904</c:v>
                </c:pt>
                <c:pt idx="1082">
                  <c:v>37907</c:v>
                </c:pt>
                <c:pt idx="1083">
                  <c:v>37908</c:v>
                </c:pt>
                <c:pt idx="1084">
                  <c:v>37909</c:v>
                </c:pt>
                <c:pt idx="1085">
                  <c:v>37910</c:v>
                </c:pt>
                <c:pt idx="1086">
                  <c:v>37911</c:v>
                </c:pt>
                <c:pt idx="1087">
                  <c:v>37914</c:v>
                </c:pt>
                <c:pt idx="1088">
                  <c:v>37915</c:v>
                </c:pt>
                <c:pt idx="1089">
                  <c:v>37916</c:v>
                </c:pt>
                <c:pt idx="1090">
                  <c:v>37917</c:v>
                </c:pt>
                <c:pt idx="1091">
                  <c:v>37918</c:v>
                </c:pt>
                <c:pt idx="1092">
                  <c:v>37921</c:v>
                </c:pt>
                <c:pt idx="1093">
                  <c:v>37922</c:v>
                </c:pt>
                <c:pt idx="1094">
                  <c:v>37923</c:v>
                </c:pt>
                <c:pt idx="1095">
                  <c:v>37924</c:v>
                </c:pt>
                <c:pt idx="1096">
                  <c:v>37925</c:v>
                </c:pt>
                <c:pt idx="1097">
                  <c:v>37928</c:v>
                </c:pt>
                <c:pt idx="1098">
                  <c:v>37929</c:v>
                </c:pt>
                <c:pt idx="1099">
                  <c:v>37930</c:v>
                </c:pt>
                <c:pt idx="1100">
                  <c:v>37931</c:v>
                </c:pt>
                <c:pt idx="1101">
                  <c:v>37932</c:v>
                </c:pt>
                <c:pt idx="1102">
                  <c:v>37935</c:v>
                </c:pt>
                <c:pt idx="1103">
                  <c:v>37936</c:v>
                </c:pt>
                <c:pt idx="1104">
                  <c:v>37937</c:v>
                </c:pt>
                <c:pt idx="1105">
                  <c:v>37938</c:v>
                </c:pt>
                <c:pt idx="1106">
                  <c:v>37939</c:v>
                </c:pt>
                <c:pt idx="1107">
                  <c:v>37942</c:v>
                </c:pt>
                <c:pt idx="1108">
                  <c:v>37943</c:v>
                </c:pt>
                <c:pt idx="1109">
                  <c:v>37944</c:v>
                </c:pt>
                <c:pt idx="1110">
                  <c:v>37945</c:v>
                </c:pt>
                <c:pt idx="1111">
                  <c:v>37946</c:v>
                </c:pt>
                <c:pt idx="1112">
                  <c:v>37949</c:v>
                </c:pt>
                <c:pt idx="1113">
                  <c:v>37950</c:v>
                </c:pt>
                <c:pt idx="1114">
                  <c:v>37951</c:v>
                </c:pt>
                <c:pt idx="1115">
                  <c:v>37952</c:v>
                </c:pt>
                <c:pt idx="1116">
                  <c:v>37953</c:v>
                </c:pt>
                <c:pt idx="1117">
                  <c:v>37956</c:v>
                </c:pt>
                <c:pt idx="1118">
                  <c:v>37957</c:v>
                </c:pt>
                <c:pt idx="1119">
                  <c:v>37958</c:v>
                </c:pt>
                <c:pt idx="1120">
                  <c:v>37959</c:v>
                </c:pt>
                <c:pt idx="1121">
                  <c:v>37960</c:v>
                </c:pt>
                <c:pt idx="1122">
                  <c:v>37963</c:v>
                </c:pt>
                <c:pt idx="1123">
                  <c:v>37964</c:v>
                </c:pt>
                <c:pt idx="1124">
                  <c:v>37965</c:v>
                </c:pt>
                <c:pt idx="1125">
                  <c:v>37966</c:v>
                </c:pt>
                <c:pt idx="1126">
                  <c:v>37967</c:v>
                </c:pt>
                <c:pt idx="1127">
                  <c:v>37970</c:v>
                </c:pt>
                <c:pt idx="1128">
                  <c:v>37971</c:v>
                </c:pt>
                <c:pt idx="1129">
                  <c:v>37972</c:v>
                </c:pt>
                <c:pt idx="1130">
                  <c:v>37973</c:v>
                </c:pt>
                <c:pt idx="1131">
                  <c:v>37974</c:v>
                </c:pt>
                <c:pt idx="1132">
                  <c:v>37977</c:v>
                </c:pt>
                <c:pt idx="1133">
                  <c:v>37978</c:v>
                </c:pt>
                <c:pt idx="1134">
                  <c:v>37979</c:v>
                </c:pt>
                <c:pt idx="1135">
                  <c:v>37980</c:v>
                </c:pt>
                <c:pt idx="1136">
                  <c:v>37981</c:v>
                </c:pt>
                <c:pt idx="1137">
                  <c:v>37984</c:v>
                </c:pt>
                <c:pt idx="1138">
                  <c:v>37985</c:v>
                </c:pt>
                <c:pt idx="1139">
                  <c:v>37986</c:v>
                </c:pt>
                <c:pt idx="1140">
                  <c:v>37987</c:v>
                </c:pt>
                <c:pt idx="1141">
                  <c:v>37988</c:v>
                </c:pt>
                <c:pt idx="1142">
                  <c:v>37991</c:v>
                </c:pt>
                <c:pt idx="1143">
                  <c:v>37992</c:v>
                </c:pt>
                <c:pt idx="1144">
                  <c:v>37993</c:v>
                </c:pt>
                <c:pt idx="1145">
                  <c:v>37994</c:v>
                </c:pt>
                <c:pt idx="1146">
                  <c:v>37995</c:v>
                </c:pt>
                <c:pt idx="1147">
                  <c:v>37998</c:v>
                </c:pt>
                <c:pt idx="1148">
                  <c:v>37999</c:v>
                </c:pt>
                <c:pt idx="1149">
                  <c:v>38000</c:v>
                </c:pt>
                <c:pt idx="1150">
                  <c:v>38001</c:v>
                </c:pt>
                <c:pt idx="1151">
                  <c:v>38002</c:v>
                </c:pt>
                <c:pt idx="1152">
                  <c:v>38005</c:v>
                </c:pt>
                <c:pt idx="1153">
                  <c:v>38006</c:v>
                </c:pt>
                <c:pt idx="1154">
                  <c:v>38007</c:v>
                </c:pt>
                <c:pt idx="1155">
                  <c:v>38008</c:v>
                </c:pt>
                <c:pt idx="1156">
                  <c:v>38009</c:v>
                </c:pt>
                <c:pt idx="1157">
                  <c:v>38012</c:v>
                </c:pt>
                <c:pt idx="1158">
                  <c:v>38013</c:v>
                </c:pt>
                <c:pt idx="1159">
                  <c:v>38014</c:v>
                </c:pt>
                <c:pt idx="1160">
                  <c:v>38015</c:v>
                </c:pt>
                <c:pt idx="1161">
                  <c:v>38016</c:v>
                </c:pt>
                <c:pt idx="1162">
                  <c:v>38019</c:v>
                </c:pt>
                <c:pt idx="1163">
                  <c:v>38020</c:v>
                </c:pt>
                <c:pt idx="1164">
                  <c:v>38021</c:v>
                </c:pt>
                <c:pt idx="1165">
                  <c:v>38022</c:v>
                </c:pt>
                <c:pt idx="1166">
                  <c:v>38023</c:v>
                </c:pt>
                <c:pt idx="1167">
                  <c:v>38026</c:v>
                </c:pt>
                <c:pt idx="1168">
                  <c:v>38027</c:v>
                </c:pt>
                <c:pt idx="1169">
                  <c:v>38028</c:v>
                </c:pt>
                <c:pt idx="1170">
                  <c:v>38029</c:v>
                </c:pt>
                <c:pt idx="1171">
                  <c:v>38030</c:v>
                </c:pt>
                <c:pt idx="1172">
                  <c:v>38033</c:v>
                </c:pt>
                <c:pt idx="1173">
                  <c:v>38034</c:v>
                </c:pt>
                <c:pt idx="1174">
                  <c:v>38035</c:v>
                </c:pt>
                <c:pt idx="1175">
                  <c:v>38036</c:v>
                </c:pt>
                <c:pt idx="1176">
                  <c:v>38037</c:v>
                </c:pt>
                <c:pt idx="1177">
                  <c:v>38040</c:v>
                </c:pt>
                <c:pt idx="1178">
                  <c:v>38041</c:v>
                </c:pt>
                <c:pt idx="1179">
                  <c:v>38042</c:v>
                </c:pt>
                <c:pt idx="1180">
                  <c:v>38043</c:v>
                </c:pt>
                <c:pt idx="1181">
                  <c:v>38044</c:v>
                </c:pt>
                <c:pt idx="1182">
                  <c:v>38047</c:v>
                </c:pt>
                <c:pt idx="1183">
                  <c:v>38048</c:v>
                </c:pt>
                <c:pt idx="1184">
                  <c:v>38049</c:v>
                </c:pt>
                <c:pt idx="1185">
                  <c:v>38050</c:v>
                </c:pt>
                <c:pt idx="1186">
                  <c:v>38051</c:v>
                </c:pt>
                <c:pt idx="1187">
                  <c:v>38054</c:v>
                </c:pt>
                <c:pt idx="1188">
                  <c:v>38055</c:v>
                </c:pt>
                <c:pt idx="1189">
                  <c:v>38056</c:v>
                </c:pt>
                <c:pt idx="1190">
                  <c:v>38057</c:v>
                </c:pt>
                <c:pt idx="1191">
                  <c:v>38058</c:v>
                </c:pt>
                <c:pt idx="1192">
                  <c:v>38061</c:v>
                </c:pt>
                <c:pt idx="1193">
                  <c:v>38062</c:v>
                </c:pt>
                <c:pt idx="1194">
                  <c:v>38063</c:v>
                </c:pt>
                <c:pt idx="1195">
                  <c:v>38064</c:v>
                </c:pt>
                <c:pt idx="1196">
                  <c:v>38065</c:v>
                </c:pt>
                <c:pt idx="1197">
                  <c:v>38068</c:v>
                </c:pt>
                <c:pt idx="1198">
                  <c:v>38069</c:v>
                </c:pt>
                <c:pt idx="1199">
                  <c:v>38070</c:v>
                </c:pt>
                <c:pt idx="1200">
                  <c:v>38071</c:v>
                </c:pt>
                <c:pt idx="1201">
                  <c:v>38072</c:v>
                </c:pt>
                <c:pt idx="1202">
                  <c:v>38075</c:v>
                </c:pt>
                <c:pt idx="1203">
                  <c:v>38076</c:v>
                </c:pt>
                <c:pt idx="1204">
                  <c:v>38077</c:v>
                </c:pt>
                <c:pt idx="1205">
                  <c:v>38078</c:v>
                </c:pt>
                <c:pt idx="1206">
                  <c:v>38079</c:v>
                </c:pt>
                <c:pt idx="1207">
                  <c:v>38082</c:v>
                </c:pt>
                <c:pt idx="1208">
                  <c:v>38083</c:v>
                </c:pt>
                <c:pt idx="1209">
                  <c:v>38084</c:v>
                </c:pt>
                <c:pt idx="1210">
                  <c:v>38085</c:v>
                </c:pt>
                <c:pt idx="1211">
                  <c:v>38086</c:v>
                </c:pt>
                <c:pt idx="1212">
                  <c:v>38089</c:v>
                </c:pt>
                <c:pt idx="1213">
                  <c:v>38090</c:v>
                </c:pt>
                <c:pt idx="1214">
                  <c:v>38091</c:v>
                </c:pt>
                <c:pt idx="1215">
                  <c:v>38092</c:v>
                </c:pt>
                <c:pt idx="1216">
                  <c:v>38093</c:v>
                </c:pt>
                <c:pt idx="1217">
                  <c:v>38096</c:v>
                </c:pt>
                <c:pt idx="1218">
                  <c:v>38097</c:v>
                </c:pt>
                <c:pt idx="1219">
                  <c:v>38098</c:v>
                </c:pt>
                <c:pt idx="1220">
                  <c:v>38099</c:v>
                </c:pt>
                <c:pt idx="1221">
                  <c:v>38100</c:v>
                </c:pt>
                <c:pt idx="1222">
                  <c:v>38103</c:v>
                </c:pt>
                <c:pt idx="1223">
                  <c:v>38104</c:v>
                </c:pt>
                <c:pt idx="1224">
                  <c:v>38105</c:v>
                </c:pt>
                <c:pt idx="1225">
                  <c:v>38106</c:v>
                </c:pt>
                <c:pt idx="1226">
                  <c:v>38107</c:v>
                </c:pt>
                <c:pt idx="1227">
                  <c:v>38110</c:v>
                </c:pt>
                <c:pt idx="1228">
                  <c:v>38111</c:v>
                </c:pt>
                <c:pt idx="1229">
                  <c:v>38112</c:v>
                </c:pt>
                <c:pt idx="1230">
                  <c:v>38113</c:v>
                </c:pt>
                <c:pt idx="1231">
                  <c:v>38114</c:v>
                </c:pt>
                <c:pt idx="1232">
                  <c:v>38117</c:v>
                </c:pt>
                <c:pt idx="1233">
                  <c:v>38118</c:v>
                </c:pt>
                <c:pt idx="1234">
                  <c:v>38119</c:v>
                </c:pt>
                <c:pt idx="1235">
                  <c:v>38120</c:v>
                </c:pt>
                <c:pt idx="1236">
                  <c:v>38121</c:v>
                </c:pt>
                <c:pt idx="1237">
                  <c:v>38124</c:v>
                </c:pt>
                <c:pt idx="1238">
                  <c:v>38125</c:v>
                </c:pt>
                <c:pt idx="1239">
                  <c:v>38126</c:v>
                </c:pt>
                <c:pt idx="1240">
                  <c:v>38127</c:v>
                </c:pt>
                <c:pt idx="1241">
                  <c:v>38128</c:v>
                </c:pt>
                <c:pt idx="1242">
                  <c:v>38131</c:v>
                </c:pt>
                <c:pt idx="1243">
                  <c:v>38132</c:v>
                </c:pt>
                <c:pt idx="1244">
                  <c:v>38133</c:v>
                </c:pt>
                <c:pt idx="1245">
                  <c:v>38134</c:v>
                </c:pt>
                <c:pt idx="1246">
                  <c:v>38135</c:v>
                </c:pt>
                <c:pt idx="1247">
                  <c:v>38138</c:v>
                </c:pt>
                <c:pt idx="1248">
                  <c:v>38139</c:v>
                </c:pt>
                <c:pt idx="1249">
                  <c:v>38140</c:v>
                </c:pt>
                <c:pt idx="1250">
                  <c:v>38141</c:v>
                </c:pt>
                <c:pt idx="1251">
                  <c:v>38142</c:v>
                </c:pt>
                <c:pt idx="1252">
                  <c:v>38145</c:v>
                </c:pt>
                <c:pt idx="1253">
                  <c:v>38146</c:v>
                </c:pt>
                <c:pt idx="1254">
                  <c:v>38147</c:v>
                </c:pt>
                <c:pt idx="1255">
                  <c:v>38148</c:v>
                </c:pt>
                <c:pt idx="1256">
                  <c:v>38149</c:v>
                </c:pt>
                <c:pt idx="1257">
                  <c:v>38152</c:v>
                </c:pt>
                <c:pt idx="1258">
                  <c:v>38153</c:v>
                </c:pt>
                <c:pt idx="1259">
                  <c:v>38154</c:v>
                </c:pt>
                <c:pt idx="1260">
                  <c:v>38155</c:v>
                </c:pt>
                <c:pt idx="1261">
                  <c:v>38156</c:v>
                </c:pt>
                <c:pt idx="1262">
                  <c:v>38159</c:v>
                </c:pt>
                <c:pt idx="1263">
                  <c:v>38160</c:v>
                </c:pt>
                <c:pt idx="1264">
                  <c:v>38161</c:v>
                </c:pt>
                <c:pt idx="1265">
                  <c:v>38162</c:v>
                </c:pt>
                <c:pt idx="1266">
                  <c:v>38163</c:v>
                </c:pt>
                <c:pt idx="1267">
                  <c:v>38166</c:v>
                </c:pt>
                <c:pt idx="1268">
                  <c:v>38167</c:v>
                </c:pt>
                <c:pt idx="1269">
                  <c:v>38168</c:v>
                </c:pt>
                <c:pt idx="1270">
                  <c:v>38169</c:v>
                </c:pt>
                <c:pt idx="1271">
                  <c:v>38170</c:v>
                </c:pt>
                <c:pt idx="1272">
                  <c:v>38173</c:v>
                </c:pt>
                <c:pt idx="1273">
                  <c:v>38174</c:v>
                </c:pt>
                <c:pt idx="1274">
                  <c:v>38175</c:v>
                </c:pt>
                <c:pt idx="1275">
                  <c:v>38176</c:v>
                </c:pt>
                <c:pt idx="1276">
                  <c:v>38177</c:v>
                </c:pt>
                <c:pt idx="1277">
                  <c:v>38180</c:v>
                </c:pt>
                <c:pt idx="1278">
                  <c:v>38181</c:v>
                </c:pt>
                <c:pt idx="1279">
                  <c:v>38182</c:v>
                </c:pt>
                <c:pt idx="1280">
                  <c:v>38183</c:v>
                </c:pt>
                <c:pt idx="1281">
                  <c:v>38184</c:v>
                </c:pt>
                <c:pt idx="1282">
                  <c:v>38187</c:v>
                </c:pt>
                <c:pt idx="1283">
                  <c:v>38188</c:v>
                </c:pt>
                <c:pt idx="1284">
                  <c:v>38189</c:v>
                </c:pt>
                <c:pt idx="1285">
                  <c:v>38190</c:v>
                </c:pt>
                <c:pt idx="1286">
                  <c:v>38191</c:v>
                </c:pt>
                <c:pt idx="1287">
                  <c:v>38194</c:v>
                </c:pt>
                <c:pt idx="1288">
                  <c:v>38195</c:v>
                </c:pt>
                <c:pt idx="1289">
                  <c:v>38196</c:v>
                </c:pt>
                <c:pt idx="1290">
                  <c:v>38197</c:v>
                </c:pt>
                <c:pt idx="1291">
                  <c:v>38198</c:v>
                </c:pt>
                <c:pt idx="1292">
                  <c:v>38201</c:v>
                </c:pt>
                <c:pt idx="1293">
                  <c:v>38202</c:v>
                </c:pt>
                <c:pt idx="1294">
                  <c:v>38203</c:v>
                </c:pt>
                <c:pt idx="1295">
                  <c:v>38204</c:v>
                </c:pt>
                <c:pt idx="1296">
                  <c:v>38205</c:v>
                </c:pt>
                <c:pt idx="1297">
                  <c:v>38208</c:v>
                </c:pt>
                <c:pt idx="1298">
                  <c:v>38209</c:v>
                </c:pt>
                <c:pt idx="1299">
                  <c:v>38210</c:v>
                </c:pt>
                <c:pt idx="1300">
                  <c:v>38211</c:v>
                </c:pt>
                <c:pt idx="1301">
                  <c:v>38212</c:v>
                </c:pt>
                <c:pt idx="1302">
                  <c:v>38215</c:v>
                </c:pt>
                <c:pt idx="1303">
                  <c:v>38216</c:v>
                </c:pt>
                <c:pt idx="1304">
                  <c:v>38217</c:v>
                </c:pt>
                <c:pt idx="1305">
                  <c:v>38218</c:v>
                </c:pt>
                <c:pt idx="1306">
                  <c:v>38219</c:v>
                </c:pt>
                <c:pt idx="1307">
                  <c:v>38222</c:v>
                </c:pt>
                <c:pt idx="1308">
                  <c:v>38223</c:v>
                </c:pt>
                <c:pt idx="1309">
                  <c:v>38224</c:v>
                </c:pt>
                <c:pt idx="1310">
                  <c:v>38225</c:v>
                </c:pt>
                <c:pt idx="1311">
                  <c:v>38226</c:v>
                </c:pt>
                <c:pt idx="1312">
                  <c:v>38229</c:v>
                </c:pt>
                <c:pt idx="1313">
                  <c:v>38230</c:v>
                </c:pt>
                <c:pt idx="1314">
                  <c:v>38231</c:v>
                </c:pt>
                <c:pt idx="1315">
                  <c:v>38232</c:v>
                </c:pt>
                <c:pt idx="1316">
                  <c:v>38233</c:v>
                </c:pt>
                <c:pt idx="1317">
                  <c:v>38236</c:v>
                </c:pt>
                <c:pt idx="1318">
                  <c:v>38237</c:v>
                </c:pt>
                <c:pt idx="1319">
                  <c:v>38238</c:v>
                </c:pt>
                <c:pt idx="1320">
                  <c:v>38239</c:v>
                </c:pt>
                <c:pt idx="1321">
                  <c:v>38240</c:v>
                </c:pt>
                <c:pt idx="1322">
                  <c:v>38243</c:v>
                </c:pt>
                <c:pt idx="1323">
                  <c:v>38244</c:v>
                </c:pt>
                <c:pt idx="1324">
                  <c:v>38245</c:v>
                </c:pt>
                <c:pt idx="1325">
                  <c:v>38246</c:v>
                </c:pt>
                <c:pt idx="1326">
                  <c:v>38247</c:v>
                </c:pt>
                <c:pt idx="1327">
                  <c:v>38250</c:v>
                </c:pt>
                <c:pt idx="1328">
                  <c:v>38251</c:v>
                </c:pt>
                <c:pt idx="1329">
                  <c:v>38252</c:v>
                </c:pt>
                <c:pt idx="1330">
                  <c:v>38253</c:v>
                </c:pt>
                <c:pt idx="1331">
                  <c:v>38254</c:v>
                </c:pt>
                <c:pt idx="1332">
                  <c:v>38257</c:v>
                </c:pt>
                <c:pt idx="1333">
                  <c:v>38258</c:v>
                </c:pt>
                <c:pt idx="1334">
                  <c:v>38259</c:v>
                </c:pt>
                <c:pt idx="1335">
                  <c:v>38260</c:v>
                </c:pt>
                <c:pt idx="1336">
                  <c:v>38261</c:v>
                </c:pt>
                <c:pt idx="1337">
                  <c:v>38264</c:v>
                </c:pt>
                <c:pt idx="1338">
                  <c:v>38265</c:v>
                </c:pt>
                <c:pt idx="1339">
                  <c:v>38266</c:v>
                </c:pt>
                <c:pt idx="1340">
                  <c:v>38267</c:v>
                </c:pt>
                <c:pt idx="1341">
                  <c:v>38268</c:v>
                </c:pt>
                <c:pt idx="1342">
                  <c:v>38271</c:v>
                </c:pt>
                <c:pt idx="1343">
                  <c:v>38272</c:v>
                </c:pt>
                <c:pt idx="1344">
                  <c:v>38273</c:v>
                </c:pt>
                <c:pt idx="1345">
                  <c:v>38274</c:v>
                </c:pt>
                <c:pt idx="1346">
                  <c:v>38275</c:v>
                </c:pt>
                <c:pt idx="1347">
                  <c:v>38278</c:v>
                </c:pt>
                <c:pt idx="1348">
                  <c:v>38279</c:v>
                </c:pt>
                <c:pt idx="1349">
                  <c:v>38280</c:v>
                </c:pt>
                <c:pt idx="1350">
                  <c:v>38281</c:v>
                </c:pt>
                <c:pt idx="1351">
                  <c:v>38282</c:v>
                </c:pt>
                <c:pt idx="1352">
                  <c:v>38285</c:v>
                </c:pt>
                <c:pt idx="1353">
                  <c:v>38286</c:v>
                </c:pt>
                <c:pt idx="1354">
                  <c:v>38287</c:v>
                </c:pt>
                <c:pt idx="1355">
                  <c:v>38288</c:v>
                </c:pt>
                <c:pt idx="1356">
                  <c:v>38289</c:v>
                </c:pt>
                <c:pt idx="1357">
                  <c:v>38292</c:v>
                </c:pt>
                <c:pt idx="1358">
                  <c:v>38293</c:v>
                </c:pt>
                <c:pt idx="1359">
                  <c:v>38294</c:v>
                </c:pt>
                <c:pt idx="1360">
                  <c:v>38295</c:v>
                </c:pt>
                <c:pt idx="1361">
                  <c:v>38296</c:v>
                </c:pt>
                <c:pt idx="1362">
                  <c:v>38299</c:v>
                </c:pt>
                <c:pt idx="1363">
                  <c:v>38300</c:v>
                </c:pt>
                <c:pt idx="1364">
                  <c:v>38301</c:v>
                </c:pt>
                <c:pt idx="1365">
                  <c:v>38302</c:v>
                </c:pt>
                <c:pt idx="1366">
                  <c:v>38303</c:v>
                </c:pt>
                <c:pt idx="1367">
                  <c:v>38306</c:v>
                </c:pt>
                <c:pt idx="1368">
                  <c:v>38307</c:v>
                </c:pt>
                <c:pt idx="1369">
                  <c:v>38308</c:v>
                </c:pt>
                <c:pt idx="1370">
                  <c:v>38309</c:v>
                </c:pt>
                <c:pt idx="1371">
                  <c:v>38310</c:v>
                </c:pt>
                <c:pt idx="1372">
                  <c:v>38313</c:v>
                </c:pt>
                <c:pt idx="1373">
                  <c:v>38314</c:v>
                </c:pt>
                <c:pt idx="1374">
                  <c:v>38315</c:v>
                </c:pt>
                <c:pt idx="1375">
                  <c:v>38316</c:v>
                </c:pt>
                <c:pt idx="1376">
                  <c:v>38317</c:v>
                </c:pt>
                <c:pt idx="1377">
                  <c:v>38320</c:v>
                </c:pt>
                <c:pt idx="1378">
                  <c:v>38321</c:v>
                </c:pt>
                <c:pt idx="1379">
                  <c:v>38322</c:v>
                </c:pt>
                <c:pt idx="1380">
                  <c:v>38323</c:v>
                </c:pt>
                <c:pt idx="1381">
                  <c:v>38324</c:v>
                </c:pt>
                <c:pt idx="1382">
                  <c:v>38327</c:v>
                </c:pt>
                <c:pt idx="1383">
                  <c:v>38328</c:v>
                </c:pt>
                <c:pt idx="1384">
                  <c:v>38329</c:v>
                </c:pt>
                <c:pt idx="1385">
                  <c:v>38330</c:v>
                </c:pt>
                <c:pt idx="1386">
                  <c:v>38331</c:v>
                </c:pt>
                <c:pt idx="1387">
                  <c:v>38334</c:v>
                </c:pt>
                <c:pt idx="1388">
                  <c:v>38335</c:v>
                </c:pt>
                <c:pt idx="1389">
                  <c:v>38336</c:v>
                </c:pt>
                <c:pt idx="1390">
                  <c:v>38337</c:v>
                </c:pt>
                <c:pt idx="1391">
                  <c:v>38338</c:v>
                </c:pt>
                <c:pt idx="1392">
                  <c:v>38341</c:v>
                </c:pt>
                <c:pt idx="1393">
                  <c:v>38342</c:v>
                </c:pt>
                <c:pt idx="1394">
                  <c:v>38343</c:v>
                </c:pt>
                <c:pt idx="1395">
                  <c:v>38344</c:v>
                </c:pt>
                <c:pt idx="1396">
                  <c:v>38345</c:v>
                </c:pt>
                <c:pt idx="1397">
                  <c:v>38348</c:v>
                </c:pt>
                <c:pt idx="1398">
                  <c:v>38349</c:v>
                </c:pt>
                <c:pt idx="1399">
                  <c:v>38350</c:v>
                </c:pt>
                <c:pt idx="1400">
                  <c:v>38351</c:v>
                </c:pt>
                <c:pt idx="1401">
                  <c:v>38352</c:v>
                </c:pt>
                <c:pt idx="1402">
                  <c:v>38355</c:v>
                </c:pt>
                <c:pt idx="1403">
                  <c:v>38356</c:v>
                </c:pt>
                <c:pt idx="1404">
                  <c:v>38357</c:v>
                </c:pt>
                <c:pt idx="1405">
                  <c:v>38358</c:v>
                </c:pt>
                <c:pt idx="1406">
                  <c:v>38359</c:v>
                </c:pt>
                <c:pt idx="1407">
                  <c:v>38362</c:v>
                </c:pt>
                <c:pt idx="1408">
                  <c:v>38363</c:v>
                </c:pt>
                <c:pt idx="1409">
                  <c:v>38364</c:v>
                </c:pt>
                <c:pt idx="1410">
                  <c:v>38365</c:v>
                </c:pt>
                <c:pt idx="1411">
                  <c:v>38366</c:v>
                </c:pt>
                <c:pt idx="1412">
                  <c:v>38369</c:v>
                </c:pt>
                <c:pt idx="1413">
                  <c:v>38370</c:v>
                </c:pt>
                <c:pt idx="1414">
                  <c:v>38371</c:v>
                </c:pt>
                <c:pt idx="1415">
                  <c:v>38372</c:v>
                </c:pt>
                <c:pt idx="1416">
                  <c:v>38373</c:v>
                </c:pt>
                <c:pt idx="1417">
                  <c:v>38376</c:v>
                </c:pt>
                <c:pt idx="1418">
                  <c:v>38377</c:v>
                </c:pt>
                <c:pt idx="1419">
                  <c:v>38378</c:v>
                </c:pt>
                <c:pt idx="1420">
                  <c:v>38379</c:v>
                </c:pt>
                <c:pt idx="1421">
                  <c:v>38380</c:v>
                </c:pt>
                <c:pt idx="1422">
                  <c:v>38383</c:v>
                </c:pt>
                <c:pt idx="1423">
                  <c:v>38384</c:v>
                </c:pt>
                <c:pt idx="1424">
                  <c:v>38385</c:v>
                </c:pt>
                <c:pt idx="1425">
                  <c:v>38386</c:v>
                </c:pt>
                <c:pt idx="1426">
                  <c:v>38387</c:v>
                </c:pt>
                <c:pt idx="1427">
                  <c:v>38390</c:v>
                </c:pt>
                <c:pt idx="1428">
                  <c:v>38391</c:v>
                </c:pt>
                <c:pt idx="1429">
                  <c:v>38392</c:v>
                </c:pt>
                <c:pt idx="1430">
                  <c:v>38393</c:v>
                </c:pt>
                <c:pt idx="1431">
                  <c:v>38394</c:v>
                </c:pt>
                <c:pt idx="1432">
                  <c:v>38397</c:v>
                </c:pt>
                <c:pt idx="1433">
                  <c:v>38398</c:v>
                </c:pt>
                <c:pt idx="1434">
                  <c:v>38399</c:v>
                </c:pt>
                <c:pt idx="1435">
                  <c:v>38400</c:v>
                </c:pt>
                <c:pt idx="1436">
                  <c:v>38401</c:v>
                </c:pt>
                <c:pt idx="1437">
                  <c:v>38404</c:v>
                </c:pt>
                <c:pt idx="1438">
                  <c:v>38405</c:v>
                </c:pt>
                <c:pt idx="1439">
                  <c:v>38406</c:v>
                </c:pt>
                <c:pt idx="1440">
                  <c:v>38407</c:v>
                </c:pt>
                <c:pt idx="1441">
                  <c:v>38408</c:v>
                </c:pt>
                <c:pt idx="1442">
                  <c:v>38411</c:v>
                </c:pt>
                <c:pt idx="1443">
                  <c:v>38412</c:v>
                </c:pt>
                <c:pt idx="1444">
                  <c:v>38413</c:v>
                </c:pt>
                <c:pt idx="1445">
                  <c:v>38414</c:v>
                </c:pt>
                <c:pt idx="1446">
                  <c:v>38415</c:v>
                </c:pt>
                <c:pt idx="1447">
                  <c:v>38418</c:v>
                </c:pt>
                <c:pt idx="1448">
                  <c:v>38419</c:v>
                </c:pt>
                <c:pt idx="1449">
                  <c:v>38420</c:v>
                </c:pt>
                <c:pt idx="1450">
                  <c:v>38421</c:v>
                </c:pt>
                <c:pt idx="1451">
                  <c:v>38422</c:v>
                </c:pt>
                <c:pt idx="1452">
                  <c:v>38425</c:v>
                </c:pt>
                <c:pt idx="1453">
                  <c:v>38426</c:v>
                </c:pt>
                <c:pt idx="1454">
                  <c:v>38427</c:v>
                </c:pt>
                <c:pt idx="1455">
                  <c:v>38428</c:v>
                </c:pt>
                <c:pt idx="1456">
                  <c:v>38429</c:v>
                </c:pt>
                <c:pt idx="1457">
                  <c:v>38432</c:v>
                </c:pt>
                <c:pt idx="1458">
                  <c:v>38433</c:v>
                </c:pt>
                <c:pt idx="1459">
                  <c:v>38434</c:v>
                </c:pt>
                <c:pt idx="1460">
                  <c:v>38435</c:v>
                </c:pt>
                <c:pt idx="1461">
                  <c:v>38436</c:v>
                </c:pt>
                <c:pt idx="1462">
                  <c:v>38439</c:v>
                </c:pt>
                <c:pt idx="1463">
                  <c:v>38440</c:v>
                </c:pt>
                <c:pt idx="1464">
                  <c:v>38441</c:v>
                </c:pt>
                <c:pt idx="1465">
                  <c:v>38442</c:v>
                </c:pt>
                <c:pt idx="1466">
                  <c:v>38443</c:v>
                </c:pt>
                <c:pt idx="1467">
                  <c:v>38446</c:v>
                </c:pt>
                <c:pt idx="1468">
                  <c:v>38447</c:v>
                </c:pt>
                <c:pt idx="1469">
                  <c:v>38448</c:v>
                </c:pt>
                <c:pt idx="1470">
                  <c:v>38449</c:v>
                </c:pt>
                <c:pt idx="1471">
                  <c:v>38450</c:v>
                </c:pt>
                <c:pt idx="1472">
                  <c:v>38453</c:v>
                </c:pt>
                <c:pt idx="1473">
                  <c:v>38454</c:v>
                </c:pt>
                <c:pt idx="1474">
                  <c:v>38455</c:v>
                </c:pt>
                <c:pt idx="1475">
                  <c:v>38456</c:v>
                </c:pt>
                <c:pt idx="1476">
                  <c:v>38457</c:v>
                </c:pt>
                <c:pt idx="1477">
                  <c:v>38460</c:v>
                </c:pt>
                <c:pt idx="1478">
                  <c:v>38461</c:v>
                </c:pt>
                <c:pt idx="1479">
                  <c:v>38462</c:v>
                </c:pt>
                <c:pt idx="1480">
                  <c:v>38463</c:v>
                </c:pt>
                <c:pt idx="1481">
                  <c:v>38464</c:v>
                </c:pt>
                <c:pt idx="1482">
                  <c:v>38467</c:v>
                </c:pt>
                <c:pt idx="1483">
                  <c:v>38468</c:v>
                </c:pt>
                <c:pt idx="1484">
                  <c:v>38469</c:v>
                </c:pt>
                <c:pt idx="1485">
                  <c:v>38470</c:v>
                </c:pt>
                <c:pt idx="1486">
                  <c:v>38471</c:v>
                </c:pt>
                <c:pt idx="1487">
                  <c:v>38474</c:v>
                </c:pt>
                <c:pt idx="1488">
                  <c:v>38475</c:v>
                </c:pt>
                <c:pt idx="1489">
                  <c:v>38476</c:v>
                </c:pt>
                <c:pt idx="1490">
                  <c:v>38477</c:v>
                </c:pt>
                <c:pt idx="1491">
                  <c:v>38478</c:v>
                </c:pt>
                <c:pt idx="1492">
                  <c:v>38481</c:v>
                </c:pt>
                <c:pt idx="1493">
                  <c:v>38482</c:v>
                </c:pt>
                <c:pt idx="1494">
                  <c:v>38483</c:v>
                </c:pt>
                <c:pt idx="1495">
                  <c:v>38484</c:v>
                </c:pt>
                <c:pt idx="1496">
                  <c:v>38485</c:v>
                </c:pt>
                <c:pt idx="1497">
                  <c:v>38488</c:v>
                </c:pt>
                <c:pt idx="1498">
                  <c:v>38489</c:v>
                </c:pt>
                <c:pt idx="1499">
                  <c:v>38490</c:v>
                </c:pt>
                <c:pt idx="1500">
                  <c:v>38491</c:v>
                </c:pt>
                <c:pt idx="1501">
                  <c:v>38492</c:v>
                </c:pt>
                <c:pt idx="1502">
                  <c:v>38495</c:v>
                </c:pt>
                <c:pt idx="1503">
                  <c:v>38496</c:v>
                </c:pt>
                <c:pt idx="1504">
                  <c:v>38497</c:v>
                </c:pt>
                <c:pt idx="1505">
                  <c:v>38498</c:v>
                </c:pt>
                <c:pt idx="1506">
                  <c:v>38499</c:v>
                </c:pt>
                <c:pt idx="1507">
                  <c:v>38502</c:v>
                </c:pt>
                <c:pt idx="1508">
                  <c:v>38503</c:v>
                </c:pt>
                <c:pt idx="1509">
                  <c:v>38504</c:v>
                </c:pt>
                <c:pt idx="1510">
                  <c:v>38505</c:v>
                </c:pt>
                <c:pt idx="1511">
                  <c:v>38506</c:v>
                </c:pt>
                <c:pt idx="1512">
                  <c:v>38509</c:v>
                </c:pt>
                <c:pt idx="1513">
                  <c:v>38510</c:v>
                </c:pt>
                <c:pt idx="1514">
                  <c:v>38511</c:v>
                </c:pt>
                <c:pt idx="1515">
                  <c:v>38512</c:v>
                </c:pt>
                <c:pt idx="1516">
                  <c:v>38513</c:v>
                </c:pt>
                <c:pt idx="1517">
                  <c:v>38516</c:v>
                </c:pt>
                <c:pt idx="1518">
                  <c:v>38517</c:v>
                </c:pt>
                <c:pt idx="1519">
                  <c:v>38518</c:v>
                </c:pt>
                <c:pt idx="1520">
                  <c:v>38519</c:v>
                </c:pt>
                <c:pt idx="1521">
                  <c:v>38520</c:v>
                </c:pt>
                <c:pt idx="1522">
                  <c:v>38523</c:v>
                </c:pt>
                <c:pt idx="1523">
                  <c:v>38524</c:v>
                </c:pt>
                <c:pt idx="1524">
                  <c:v>38525</c:v>
                </c:pt>
                <c:pt idx="1525">
                  <c:v>38526</c:v>
                </c:pt>
                <c:pt idx="1526">
                  <c:v>38527</c:v>
                </c:pt>
                <c:pt idx="1527">
                  <c:v>38530</c:v>
                </c:pt>
                <c:pt idx="1528">
                  <c:v>38531</c:v>
                </c:pt>
                <c:pt idx="1529">
                  <c:v>38532</c:v>
                </c:pt>
                <c:pt idx="1530">
                  <c:v>38533</c:v>
                </c:pt>
                <c:pt idx="1531">
                  <c:v>38534</c:v>
                </c:pt>
                <c:pt idx="1532">
                  <c:v>38537</c:v>
                </c:pt>
                <c:pt idx="1533">
                  <c:v>38538</c:v>
                </c:pt>
                <c:pt idx="1534">
                  <c:v>38539</c:v>
                </c:pt>
                <c:pt idx="1535">
                  <c:v>38540</c:v>
                </c:pt>
                <c:pt idx="1536">
                  <c:v>38541</c:v>
                </c:pt>
                <c:pt idx="1537">
                  <c:v>38544</c:v>
                </c:pt>
                <c:pt idx="1538">
                  <c:v>38545</c:v>
                </c:pt>
                <c:pt idx="1539">
                  <c:v>38546</c:v>
                </c:pt>
                <c:pt idx="1540">
                  <c:v>38547</c:v>
                </c:pt>
                <c:pt idx="1541">
                  <c:v>38548</c:v>
                </c:pt>
                <c:pt idx="1542">
                  <c:v>38551</c:v>
                </c:pt>
                <c:pt idx="1543">
                  <c:v>38552</c:v>
                </c:pt>
                <c:pt idx="1544">
                  <c:v>38553</c:v>
                </c:pt>
                <c:pt idx="1545">
                  <c:v>38554</c:v>
                </c:pt>
                <c:pt idx="1546">
                  <c:v>38555</c:v>
                </c:pt>
                <c:pt idx="1547">
                  <c:v>38558</c:v>
                </c:pt>
                <c:pt idx="1548">
                  <c:v>38559</c:v>
                </c:pt>
                <c:pt idx="1549">
                  <c:v>38560</c:v>
                </c:pt>
                <c:pt idx="1550">
                  <c:v>38561</c:v>
                </c:pt>
                <c:pt idx="1551">
                  <c:v>38562</c:v>
                </c:pt>
                <c:pt idx="1552">
                  <c:v>38565</c:v>
                </c:pt>
                <c:pt idx="1553">
                  <c:v>38566</c:v>
                </c:pt>
                <c:pt idx="1554">
                  <c:v>38567</c:v>
                </c:pt>
                <c:pt idx="1555">
                  <c:v>38568</c:v>
                </c:pt>
                <c:pt idx="1556">
                  <c:v>38569</c:v>
                </c:pt>
                <c:pt idx="1557">
                  <c:v>38572</c:v>
                </c:pt>
                <c:pt idx="1558">
                  <c:v>38573</c:v>
                </c:pt>
                <c:pt idx="1559">
                  <c:v>38574</c:v>
                </c:pt>
                <c:pt idx="1560">
                  <c:v>38575</c:v>
                </c:pt>
                <c:pt idx="1561">
                  <c:v>38576</c:v>
                </c:pt>
                <c:pt idx="1562">
                  <c:v>38579</c:v>
                </c:pt>
                <c:pt idx="1563">
                  <c:v>38580</c:v>
                </c:pt>
                <c:pt idx="1564">
                  <c:v>38581</c:v>
                </c:pt>
                <c:pt idx="1565">
                  <c:v>38582</c:v>
                </c:pt>
                <c:pt idx="1566">
                  <c:v>38583</c:v>
                </c:pt>
                <c:pt idx="1567">
                  <c:v>38586</c:v>
                </c:pt>
                <c:pt idx="1568">
                  <c:v>38587</c:v>
                </c:pt>
                <c:pt idx="1569">
                  <c:v>38588</c:v>
                </c:pt>
                <c:pt idx="1570">
                  <c:v>38589</c:v>
                </c:pt>
                <c:pt idx="1571">
                  <c:v>38590</c:v>
                </c:pt>
                <c:pt idx="1572">
                  <c:v>38593</c:v>
                </c:pt>
                <c:pt idx="1573">
                  <c:v>38594</c:v>
                </c:pt>
                <c:pt idx="1574">
                  <c:v>38595</c:v>
                </c:pt>
                <c:pt idx="1575">
                  <c:v>38596</c:v>
                </c:pt>
                <c:pt idx="1576">
                  <c:v>38597</c:v>
                </c:pt>
                <c:pt idx="1577">
                  <c:v>38600</c:v>
                </c:pt>
                <c:pt idx="1578">
                  <c:v>38601</c:v>
                </c:pt>
                <c:pt idx="1579">
                  <c:v>38602</c:v>
                </c:pt>
                <c:pt idx="1580">
                  <c:v>38603</c:v>
                </c:pt>
                <c:pt idx="1581">
                  <c:v>38604</c:v>
                </c:pt>
                <c:pt idx="1582">
                  <c:v>38607</c:v>
                </c:pt>
                <c:pt idx="1583">
                  <c:v>38608</c:v>
                </c:pt>
                <c:pt idx="1584">
                  <c:v>38609</c:v>
                </c:pt>
                <c:pt idx="1585">
                  <c:v>38610</c:v>
                </c:pt>
                <c:pt idx="1586">
                  <c:v>38611</c:v>
                </c:pt>
                <c:pt idx="1587">
                  <c:v>38614</c:v>
                </c:pt>
                <c:pt idx="1588">
                  <c:v>38615</c:v>
                </c:pt>
                <c:pt idx="1589">
                  <c:v>38616</c:v>
                </c:pt>
                <c:pt idx="1590">
                  <c:v>38617</c:v>
                </c:pt>
                <c:pt idx="1591">
                  <c:v>38618</c:v>
                </c:pt>
                <c:pt idx="1592">
                  <c:v>38621</c:v>
                </c:pt>
                <c:pt idx="1593">
                  <c:v>38622</c:v>
                </c:pt>
                <c:pt idx="1594">
                  <c:v>38623</c:v>
                </c:pt>
                <c:pt idx="1595">
                  <c:v>38624</c:v>
                </c:pt>
                <c:pt idx="1596">
                  <c:v>38625</c:v>
                </c:pt>
                <c:pt idx="1597">
                  <c:v>38628</c:v>
                </c:pt>
                <c:pt idx="1598">
                  <c:v>38629</c:v>
                </c:pt>
                <c:pt idx="1599">
                  <c:v>38630</c:v>
                </c:pt>
                <c:pt idx="1600">
                  <c:v>38631</c:v>
                </c:pt>
                <c:pt idx="1601">
                  <c:v>38632</c:v>
                </c:pt>
                <c:pt idx="1602">
                  <c:v>38635</c:v>
                </c:pt>
                <c:pt idx="1603">
                  <c:v>38636</c:v>
                </c:pt>
                <c:pt idx="1604">
                  <c:v>38637</c:v>
                </c:pt>
                <c:pt idx="1605">
                  <c:v>38638</c:v>
                </c:pt>
                <c:pt idx="1606">
                  <c:v>38639</c:v>
                </c:pt>
                <c:pt idx="1607">
                  <c:v>38642</c:v>
                </c:pt>
                <c:pt idx="1608">
                  <c:v>38643</c:v>
                </c:pt>
                <c:pt idx="1609">
                  <c:v>38644</c:v>
                </c:pt>
                <c:pt idx="1610">
                  <c:v>38645</c:v>
                </c:pt>
                <c:pt idx="1611">
                  <c:v>38646</c:v>
                </c:pt>
                <c:pt idx="1612">
                  <c:v>38649</c:v>
                </c:pt>
                <c:pt idx="1613">
                  <c:v>38650</c:v>
                </c:pt>
                <c:pt idx="1614">
                  <c:v>38651</c:v>
                </c:pt>
                <c:pt idx="1615">
                  <c:v>38652</c:v>
                </c:pt>
                <c:pt idx="1616">
                  <c:v>38653</c:v>
                </c:pt>
                <c:pt idx="1617">
                  <c:v>38656</c:v>
                </c:pt>
                <c:pt idx="1618">
                  <c:v>38657</c:v>
                </c:pt>
                <c:pt idx="1619">
                  <c:v>38658</c:v>
                </c:pt>
                <c:pt idx="1620">
                  <c:v>38659</c:v>
                </c:pt>
                <c:pt idx="1621">
                  <c:v>38660</c:v>
                </c:pt>
                <c:pt idx="1622">
                  <c:v>38663</c:v>
                </c:pt>
                <c:pt idx="1623">
                  <c:v>38664</c:v>
                </c:pt>
                <c:pt idx="1624">
                  <c:v>38665</c:v>
                </c:pt>
                <c:pt idx="1625">
                  <c:v>38666</c:v>
                </c:pt>
                <c:pt idx="1626">
                  <c:v>38667</c:v>
                </c:pt>
                <c:pt idx="1627">
                  <c:v>38670</c:v>
                </c:pt>
                <c:pt idx="1628">
                  <c:v>38671</c:v>
                </c:pt>
                <c:pt idx="1629">
                  <c:v>38672</c:v>
                </c:pt>
                <c:pt idx="1630">
                  <c:v>38673</c:v>
                </c:pt>
                <c:pt idx="1631">
                  <c:v>38674</c:v>
                </c:pt>
                <c:pt idx="1632">
                  <c:v>38677</c:v>
                </c:pt>
                <c:pt idx="1633">
                  <c:v>38678</c:v>
                </c:pt>
                <c:pt idx="1634">
                  <c:v>38679</c:v>
                </c:pt>
                <c:pt idx="1635">
                  <c:v>38680</c:v>
                </c:pt>
                <c:pt idx="1636">
                  <c:v>38681</c:v>
                </c:pt>
                <c:pt idx="1637">
                  <c:v>38684</c:v>
                </c:pt>
                <c:pt idx="1638">
                  <c:v>38685</c:v>
                </c:pt>
                <c:pt idx="1639">
                  <c:v>38686</c:v>
                </c:pt>
                <c:pt idx="1640">
                  <c:v>38687</c:v>
                </c:pt>
                <c:pt idx="1641">
                  <c:v>38688</c:v>
                </c:pt>
                <c:pt idx="1642">
                  <c:v>38691</c:v>
                </c:pt>
                <c:pt idx="1643">
                  <c:v>38692</c:v>
                </c:pt>
                <c:pt idx="1644">
                  <c:v>38693</c:v>
                </c:pt>
                <c:pt idx="1645">
                  <c:v>38694</c:v>
                </c:pt>
                <c:pt idx="1646">
                  <c:v>38695</c:v>
                </c:pt>
                <c:pt idx="1647">
                  <c:v>38698</c:v>
                </c:pt>
                <c:pt idx="1648">
                  <c:v>38699</c:v>
                </c:pt>
                <c:pt idx="1649">
                  <c:v>38700</c:v>
                </c:pt>
                <c:pt idx="1650">
                  <c:v>38701</c:v>
                </c:pt>
                <c:pt idx="1651">
                  <c:v>38702</c:v>
                </c:pt>
                <c:pt idx="1652">
                  <c:v>38705</c:v>
                </c:pt>
                <c:pt idx="1653">
                  <c:v>38706</c:v>
                </c:pt>
                <c:pt idx="1654">
                  <c:v>38707</c:v>
                </c:pt>
                <c:pt idx="1655">
                  <c:v>38708</c:v>
                </c:pt>
                <c:pt idx="1656">
                  <c:v>38709</c:v>
                </c:pt>
                <c:pt idx="1657">
                  <c:v>38712</c:v>
                </c:pt>
                <c:pt idx="1658">
                  <c:v>38713</c:v>
                </c:pt>
                <c:pt idx="1659">
                  <c:v>38714</c:v>
                </c:pt>
                <c:pt idx="1660">
                  <c:v>38715</c:v>
                </c:pt>
                <c:pt idx="1661">
                  <c:v>38716</c:v>
                </c:pt>
                <c:pt idx="1662">
                  <c:v>38719</c:v>
                </c:pt>
                <c:pt idx="1663">
                  <c:v>38720</c:v>
                </c:pt>
                <c:pt idx="1664">
                  <c:v>38721</c:v>
                </c:pt>
                <c:pt idx="1665">
                  <c:v>38722</c:v>
                </c:pt>
                <c:pt idx="1666">
                  <c:v>38723</c:v>
                </c:pt>
                <c:pt idx="1667">
                  <c:v>38726</c:v>
                </c:pt>
                <c:pt idx="1668">
                  <c:v>38727</c:v>
                </c:pt>
                <c:pt idx="1669">
                  <c:v>38728</c:v>
                </c:pt>
                <c:pt idx="1670">
                  <c:v>38729</c:v>
                </c:pt>
                <c:pt idx="1671">
                  <c:v>38730</c:v>
                </c:pt>
                <c:pt idx="1672">
                  <c:v>38733</c:v>
                </c:pt>
                <c:pt idx="1673">
                  <c:v>38734</c:v>
                </c:pt>
                <c:pt idx="1674">
                  <c:v>38735</c:v>
                </c:pt>
                <c:pt idx="1675">
                  <c:v>38736</c:v>
                </c:pt>
                <c:pt idx="1676">
                  <c:v>38737</c:v>
                </c:pt>
                <c:pt idx="1677">
                  <c:v>38740</c:v>
                </c:pt>
                <c:pt idx="1678">
                  <c:v>38741</c:v>
                </c:pt>
                <c:pt idx="1679">
                  <c:v>38742</c:v>
                </c:pt>
                <c:pt idx="1680">
                  <c:v>38743</c:v>
                </c:pt>
                <c:pt idx="1681">
                  <c:v>38744</c:v>
                </c:pt>
                <c:pt idx="1682">
                  <c:v>38747</c:v>
                </c:pt>
                <c:pt idx="1683">
                  <c:v>38748</c:v>
                </c:pt>
                <c:pt idx="1684">
                  <c:v>38749</c:v>
                </c:pt>
                <c:pt idx="1685">
                  <c:v>38750</c:v>
                </c:pt>
                <c:pt idx="1686">
                  <c:v>38751</c:v>
                </c:pt>
                <c:pt idx="1687">
                  <c:v>38754</c:v>
                </c:pt>
                <c:pt idx="1688">
                  <c:v>38755</c:v>
                </c:pt>
                <c:pt idx="1689">
                  <c:v>38756</c:v>
                </c:pt>
                <c:pt idx="1690">
                  <c:v>38757</c:v>
                </c:pt>
                <c:pt idx="1691">
                  <c:v>38758</c:v>
                </c:pt>
                <c:pt idx="1692">
                  <c:v>38761</c:v>
                </c:pt>
                <c:pt idx="1693">
                  <c:v>38762</c:v>
                </c:pt>
                <c:pt idx="1694">
                  <c:v>38763</c:v>
                </c:pt>
                <c:pt idx="1695">
                  <c:v>38764</c:v>
                </c:pt>
                <c:pt idx="1696">
                  <c:v>38765</c:v>
                </c:pt>
                <c:pt idx="1697">
                  <c:v>38768</c:v>
                </c:pt>
                <c:pt idx="1698">
                  <c:v>38769</c:v>
                </c:pt>
                <c:pt idx="1699">
                  <c:v>38770</c:v>
                </c:pt>
                <c:pt idx="1700">
                  <c:v>38771</c:v>
                </c:pt>
                <c:pt idx="1701">
                  <c:v>38772</c:v>
                </c:pt>
                <c:pt idx="1702">
                  <c:v>38775</c:v>
                </c:pt>
                <c:pt idx="1703">
                  <c:v>38776</c:v>
                </c:pt>
                <c:pt idx="1704">
                  <c:v>38777</c:v>
                </c:pt>
                <c:pt idx="1705">
                  <c:v>38778</c:v>
                </c:pt>
                <c:pt idx="1706">
                  <c:v>38779</c:v>
                </c:pt>
                <c:pt idx="1707">
                  <c:v>38782</c:v>
                </c:pt>
                <c:pt idx="1708">
                  <c:v>38783</c:v>
                </c:pt>
                <c:pt idx="1709">
                  <c:v>38784</c:v>
                </c:pt>
                <c:pt idx="1710">
                  <c:v>38785</c:v>
                </c:pt>
                <c:pt idx="1711">
                  <c:v>38786</c:v>
                </c:pt>
                <c:pt idx="1712">
                  <c:v>38789</c:v>
                </c:pt>
                <c:pt idx="1713">
                  <c:v>38790</c:v>
                </c:pt>
                <c:pt idx="1714">
                  <c:v>38791</c:v>
                </c:pt>
                <c:pt idx="1715">
                  <c:v>38792</c:v>
                </c:pt>
                <c:pt idx="1716">
                  <c:v>38793</c:v>
                </c:pt>
                <c:pt idx="1717">
                  <c:v>38796</c:v>
                </c:pt>
                <c:pt idx="1718">
                  <c:v>38797</c:v>
                </c:pt>
                <c:pt idx="1719">
                  <c:v>38798</c:v>
                </c:pt>
                <c:pt idx="1720">
                  <c:v>38799</c:v>
                </c:pt>
                <c:pt idx="1721">
                  <c:v>38800</c:v>
                </c:pt>
                <c:pt idx="1722">
                  <c:v>38803</c:v>
                </c:pt>
                <c:pt idx="1723">
                  <c:v>38804</c:v>
                </c:pt>
                <c:pt idx="1724">
                  <c:v>38805</c:v>
                </c:pt>
                <c:pt idx="1725">
                  <c:v>38806</c:v>
                </c:pt>
                <c:pt idx="1726">
                  <c:v>38807</c:v>
                </c:pt>
                <c:pt idx="1727">
                  <c:v>38810</c:v>
                </c:pt>
                <c:pt idx="1728">
                  <c:v>38811</c:v>
                </c:pt>
                <c:pt idx="1729">
                  <c:v>38812</c:v>
                </c:pt>
                <c:pt idx="1730">
                  <c:v>38813</c:v>
                </c:pt>
                <c:pt idx="1731">
                  <c:v>38814</c:v>
                </c:pt>
                <c:pt idx="1732">
                  <c:v>38817</c:v>
                </c:pt>
                <c:pt idx="1733">
                  <c:v>38818</c:v>
                </c:pt>
                <c:pt idx="1734">
                  <c:v>38819</c:v>
                </c:pt>
                <c:pt idx="1735">
                  <c:v>38820</c:v>
                </c:pt>
                <c:pt idx="1736">
                  <c:v>38821</c:v>
                </c:pt>
                <c:pt idx="1737">
                  <c:v>38824</c:v>
                </c:pt>
                <c:pt idx="1738">
                  <c:v>38825</c:v>
                </c:pt>
                <c:pt idx="1739">
                  <c:v>38826</c:v>
                </c:pt>
                <c:pt idx="1740">
                  <c:v>38827</c:v>
                </c:pt>
                <c:pt idx="1741">
                  <c:v>38828</c:v>
                </c:pt>
                <c:pt idx="1742">
                  <c:v>38831</c:v>
                </c:pt>
                <c:pt idx="1743">
                  <c:v>38832</c:v>
                </c:pt>
                <c:pt idx="1744">
                  <c:v>38833</c:v>
                </c:pt>
                <c:pt idx="1745">
                  <c:v>38834</c:v>
                </c:pt>
                <c:pt idx="1746">
                  <c:v>38835</c:v>
                </c:pt>
                <c:pt idx="1747">
                  <c:v>38838</c:v>
                </c:pt>
                <c:pt idx="1748">
                  <c:v>38839</c:v>
                </c:pt>
                <c:pt idx="1749">
                  <c:v>38840</c:v>
                </c:pt>
                <c:pt idx="1750">
                  <c:v>38841</c:v>
                </c:pt>
                <c:pt idx="1751">
                  <c:v>38842</c:v>
                </c:pt>
                <c:pt idx="1752">
                  <c:v>38845</c:v>
                </c:pt>
                <c:pt idx="1753">
                  <c:v>38846</c:v>
                </c:pt>
                <c:pt idx="1754">
                  <c:v>38847</c:v>
                </c:pt>
                <c:pt idx="1755">
                  <c:v>38848</c:v>
                </c:pt>
                <c:pt idx="1756">
                  <c:v>38849</c:v>
                </c:pt>
                <c:pt idx="1757">
                  <c:v>38852</c:v>
                </c:pt>
                <c:pt idx="1758">
                  <c:v>38853</c:v>
                </c:pt>
                <c:pt idx="1759">
                  <c:v>38854</c:v>
                </c:pt>
                <c:pt idx="1760">
                  <c:v>38855</c:v>
                </c:pt>
                <c:pt idx="1761">
                  <c:v>38856</c:v>
                </c:pt>
                <c:pt idx="1762">
                  <c:v>38859</c:v>
                </c:pt>
                <c:pt idx="1763">
                  <c:v>38860</c:v>
                </c:pt>
                <c:pt idx="1764">
                  <c:v>38861</c:v>
                </c:pt>
                <c:pt idx="1765">
                  <c:v>38862</c:v>
                </c:pt>
                <c:pt idx="1766">
                  <c:v>38863</c:v>
                </c:pt>
                <c:pt idx="1767">
                  <c:v>38866</c:v>
                </c:pt>
                <c:pt idx="1768">
                  <c:v>38867</c:v>
                </c:pt>
                <c:pt idx="1769">
                  <c:v>38868</c:v>
                </c:pt>
                <c:pt idx="1770">
                  <c:v>38869</c:v>
                </c:pt>
                <c:pt idx="1771">
                  <c:v>38870</c:v>
                </c:pt>
                <c:pt idx="1772">
                  <c:v>38873</c:v>
                </c:pt>
                <c:pt idx="1773">
                  <c:v>38874</c:v>
                </c:pt>
                <c:pt idx="1774">
                  <c:v>38875</c:v>
                </c:pt>
                <c:pt idx="1775">
                  <c:v>38876</c:v>
                </c:pt>
                <c:pt idx="1776">
                  <c:v>38877</c:v>
                </c:pt>
                <c:pt idx="1777">
                  <c:v>38880</c:v>
                </c:pt>
                <c:pt idx="1778">
                  <c:v>38881</c:v>
                </c:pt>
                <c:pt idx="1779">
                  <c:v>38882</c:v>
                </c:pt>
                <c:pt idx="1780">
                  <c:v>38883</c:v>
                </c:pt>
                <c:pt idx="1781">
                  <c:v>38884</c:v>
                </c:pt>
                <c:pt idx="1782">
                  <c:v>38887</c:v>
                </c:pt>
                <c:pt idx="1783">
                  <c:v>38888</c:v>
                </c:pt>
                <c:pt idx="1784">
                  <c:v>38889</c:v>
                </c:pt>
                <c:pt idx="1785">
                  <c:v>38890</c:v>
                </c:pt>
                <c:pt idx="1786">
                  <c:v>38891</c:v>
                </c:pt>
                <c:pt idx="1787">
                  <c:v>38894</c:v>
                </c:pt>
                <c:pt idx="1788">
                  <c:v>38895</c:v>
                </c:pt>
                <c:pt idx="1789">
                  <c:v>38896</c:v>
                </c:pt>
                <c:pt idx="1790">
                  <c:v>38897</c:v>
                </c:pt>
                <c:pt idx="1791">
                  <c:v>38898</c:v>
                </c:pt>
                <c:pt idx="1792">
                  <c:v>38901</c:v>
                </c:pt>
                <c:pt idx="1793">
                  <c:v>38902</c:v>
                </c:pt>
                <c:pt idx="1794">
                  <c:v>38903</c:v>
                </c:pt>
                <c:pt idx="1795">
                  <c:v>38904</c:v>
                </c:pt>
                <c:pt idx="1796">
                  <c:v>38905</c:v>
                </c:pt>
                <c:pt idx="1797">
                  <c:v>38908</c:v>
                </c:pt>
                <c:pt idx="1798">
                  <c:v>38909</c:v>
                </c:pt>
                <c:pt idx="1799">
                  <c:v>38910</c:v>
                </c:pt>
                <c:pt idx="1800">
                  <c:v>38911</c:v>
                </c:pt>
                <c:pt idx="1801">
                  <c:v>38912</c:v>
                </c:pt>
                <c:pt idx="1802">
                  <c:v>38915</c:v>
                </c:pt>
                <c:pt idx="1803">
                  <c:v>38916</c:v>
                </c:pt>
                <c:pt idx="1804">
                  <c:v>38917</c:v>
                </c:pt>
                <c:pt idx="1805">
                  <c:v>38918</c:v>
                </c:pt>
                <c:pt idx="1806">
                  <c:v>38919</c:v>
                </c:pt>
                <c:pt idx="1807">
                  <c:v>38922</c:v>
                </c:pt>
                <c:pt idx="1808">
                  <c:v>38923</c:v>
                </c:pt>
                <c:pt idx="1809">
                  <c:v>38924</c:v>
                </c:pt>
                <c:pt idx="1810">
                  <c:v>38925</c:v>
                </c:pt>
                <c:pt idx="1811">
                  <c:v>38926</c:v>
                </c:pt>
                <c:pt idx="1812">
                  <c:v>38929</c:v>
                </c:pt>
                <c:pt idx="1813">
                  <c:v>38930</c:v>
                </c:pt>
                <c:pt idx="1814">
                  <c:v>38931</c:v>
                </c:pt>
                <c:pt idx="1815">
                  <c:v>38932</c:v>
                </c:pt>
                <c:pt idx="1816">
                  <c:v>38933</c:v>
                </c:pt>
                <c:pt idx="1817">
                  <c:v>38936</c:v>
                </c:pt>
                <c:pt idx="1818">
                  <c:v>38937</c:v>
                </c:pt>
                <c:pt idx="1819">
                  <c:v>38938</c:v>
                </c:pt>
                <c:pt idx="1820">
                  <c:v>38939</c:v>
                </c:pt>
                <c:pt idx="1821">
                  <c:v>38940</c:v>
                </c:pt>
                <c:pt idx="1822">
                  <c:v>38943</c:v>
                </c:pt>
                <c:pt idx="1823">
                  <c:v>38944</c:v>
                </c:pt>
                <c:pt idx="1824">
                  <c:v>38945</c:v>
                </c:pt>
                <c:pt idx="1825">
                  <c:v>38946</c:v>
                </c:pt>
                <c:pt idx="1826">
                  <c:v>38947</c:v>
                </c:pt>
                <c:pt idx="1827">
                  <c:v>38950</c:v>
                </c:pt>
                <c:pt idx="1828">
                  <c:v>38951</c:v>
                </c:pt>
                <c:pt idx="1829">
                  <c:v>38952</c:v>
                </c:pt>
                <c:pt idx="1830">
                  <c:v>38953</c:v>
                </c:pt>
                <c:pt idx="1831">
                  <c:v>38954</c:v>
                </c:pt>
                <c:pt idx="1832">
                  <c:v>38957</c:v>
                </c:pt>
                <c:pt idx="1833">
                  <c:v>38958</c:v>
                </c:pt>
                <c:pt idx="1834">
                  <c:v>38959</c:v>
                </c:pt>
                <c:pt idx="1835">
                  <c:v>38960</c:v>
                </c:pt>
                <c:pt idx="1836">
                  <c:v>38961</c:v>
                </c:pt>
                <c:pt idx="1837">
                  <c:v>38964</c:v>
                </c:pt>
                <c:pt idx="1838">
                  <c:v>38965</c:v>
                </c:pt>
                <c:pt idx="1839">
                  <c:v>38966</c:v>
                </c:pt>
                <c:pt idx="1840">
                  <c:v>38967</c:v>
                </c:pt>
                <c:pt idx="1841">
                  <c:v>38968</c:v>
                </c:pt>
                <c:pt idx="1842">
                  <c:v>38971</c:v>
                </c:pt>
                <c:pt idx="1843">
                  <c:v>38972</c:v>
                </c:pt>
                <c:pt idx="1844">
                  <c:v>38973</c:v>
                </c:pt>
                <c:pt idx="1845">
                  <c:v>38974</c:v>
                </c:pt>
                <c:pt idx="1846">
                  <c:v>38975</c:v>
                </c:pt>
                <c:pt idx="1847">
                  <c:v>38978</c:v>
                </c:pt>
                <c:pt idx="1848">
                  <c:v>38979</c:v>
                </c:pt>
                <c:pt idx="1849">
                  <c:v>38980</c:v>
                </c:pt>
                <c:pt idx="1850">
                  <c:v>38981</c:v>
                </c:pt>
                <c:pt idx="1851">
                  <c:v>38982</c:v>
                </c:pt>
                <c:pt idx="1852">
                  <c:v>38985</c:v>
                </c:pt>
                <c:pt idx="1853">
                  <c:v>38986</c:v>
                </c:pt>
                <c:pt idx="1854">
                  <c:v>38987</c:v>
                </c:pt>
                <c:pt idx="1855">
                  <c:v>38988</c:v>
                </c:pt>
                <c:pt idx="1856">
                  <c:v>38989</c:v>
                </c:pt>
                <c:pt idx="1857">
                  <c:v>38992</c:v>
                </c:pt>
                <c:pt idx="1858">
                  <c:v>38993</c:v>
                </c:pt>
                <c:pt idx="1859">
                  <c:v>38994</c:v>
                </c:pt>
                <c:pt idx="1860">
                  <c:v>38995</c:v>
                </c:pt>
                <c:pt idx="1861">
                  <c:v>38996</c:v>
                </c:pt>
                <c:pt idx="1862">
                  <c:v>38999</c:v>
                </c:pt>
                <c:pt idx="1863">
                  <c:v>39000</c:v>
                </c:pt>
                <c:pt idx="1864">
                  <c:v>39001</c:v>
                </c:pt>
                <c:pt idx="1865">
                  <c:v>39002</c:v>
                </c:pt>
                <c:pt idx="1866">
                  <c:v>39003</c:v>
                </c:pt>
                <c:pt idx="1867">
                  <c:v>39006</c:v>
                </c:pt>
                <c:pt idx="1868">
                  <c:v>39007</c:v>
                </c:pt>
                <c:pt idx="1869">
                  <c:v>39008</c:v>
                </c:pt>
                <c:pt idx="1870">
                  <c:v>39009</c:v>
                </c:pt>
                <c:pt idx="1871">
                  <c:v>39010</c:v>
                </c:pt>
                <c:pt idx="1872">
                  <c:v>39013</c:v>
                </c:pt>
                <c:pt idx="1873">
                  <c:v>39014</c:v>
                </c:pt>
                <c:pt idx="1874">
                  <c:v>39015</c:v>
                </c:pt>
                <c:pt idx="1875">
                  <c:v>39016</c:v>
                </c:pt>
                <c:pt idx="1876">
                  <c:v>39017</c:v>
                </c:pt>
                <c:pt idx="1877">
                  <c:v>39020</c:v>
                </c:pt>
                <c:pt idx="1878">
                  <c:v>39021</c:v>
                </c:pt>
                <c:pt idx="1879">
                  <c:v>39022</c:v>
                </c:pt>
                <c:pt idx="1880">
                  <c:v>39023</c:v>
                </c:pt>
                <c:pt idx="1881">
                  <c:v>39024</c:v>
                </c:pt>
                <c:pt idx="1882">
                  <c:v>39027</c:v>
                </c:pt>
                <c:pt idx="1883">
                  <c:v>39028</c:v>
                </c:pt>
                <c:pt idx="1884">
                  <c:v>39029</c:v>
                </c:pt>
                <c:pt idx="1885">
                  <c:v>39030</c:v>
                </c:pt>
                <c:pt idx="1886">
                  <c:v>39031</c:v>
                </c:pt>
                <c:pt idx="1887">
                  <c:v>39034</c:v>
                </c:pt>
                <c:pt idx="1888">
                  <c:v>39035</c:v>
                </c:pt>
                <c:pt idx="1889">
                  <c:v>39036</c:v>
                </c:pt>
                <c:pt idx="1890">
                  <c:v>39037</c:v>
                </c:pt>
                <c:pt idx="1891">
                  <c:v>39038</c:v>
                </c:pt>
                <c:pt idx="1892">
                  <c:v>39041</c:v>
                </c:pt>
                <c:pt idx="1893">
                  <c:v>39042</c:v>
                </c:pt>
                <c:pt idx="1894">
                  <c:v>39043</c:v>
                </c:pt>
                <c:pt idx="1895">
                  <c:v>39044</c:v>
                </c:pt>
                <c:pt idx="1896">
                  <c:v>39045</c:v>
                </c:pt>
                <c:pt idx="1897">
                  <c:v>39048</c:v>
                </c:pt>
                <c:pt idx="1898">
                  <c:v>39049</c:v>
                </c:pt>
                <c:pt idx="1899">
                  <c:v>39050</c:v>
                </c:pt>
                <c:pt idx="1900">
                  <c:v>39051</c:v>
                </c:pt>
                <c:pt idx="1901">
                  <c:v>39052</c:v>
                </c:pt>
                <c:pt idx="1902">
                  <c:v>39055</c:v>
                </c:pt>
                <c:pt idx="1903">
                  <c:v>39056</c:v>
                </c:pt>
                <c:pt idx="1904">
                  <c:v>39057</c:v>
                </c:pt>
                <c:pt idx="1905">
                  <c:v>39058</c:v>
                </c:pt>
                <c:pt idx="1906">
                  <c:v>39059</c:v>
                </c:pt>
                <c:pt idx="1907">
                  <c:v>39062</c:v>
                </c:pt>
                <c:pt idx="1908">
                  <c:v>39063</c:v>
                </c:pt>
                <c:pt idx="1909">
                  <c:v>39064</c:v>
                </c:pt>
                <c:pt idx="1910">
                  <c:v>39065</c:v>
                </c:pt>
                <c:pt idx="1911">
                  <c:v>39066</c:v>
                </c:pt>
                <c:pt idx="1912">
                  <c:v>39069</c:v>
                </c:pt>
                <c:pt idx="1913">
                  <c:v>39070</c:v>
                </c:pt>
                <c:pt idx="1914">
                  <c:v>39071</c:v>
                </c:pt>
                <c:pt idx="1915">
                  <c:v>39072</c:v>
                </c:pt>
                <c:pt idx="1916">
                  <c:v>39073</c:v>
                </c:pt>
                <c:pt idx="1917">
                  <c:v>39076</c:v>
                </c:pt>
                <c:pt idx="1918">
                  <c:v>39077</c:v>
                </c:pt>
                <c:pt idx="1919">
                  <c:v>39078</c:v>
                </c:pt>
                <c:pt idx="1920">
                  <c:v>39079</c:v>
                </c:pt>
                <c:pt idx="1921">
                  <c:v>39080</c:v>
                </c:pt>
                <c:pt idx="1922">
                  <c:v>39083</c:v>
                </c:pt>
                <c:pt idx="1923">
                  <c:v>39084</c:v>
                </c:pt>
                <c:pt idx="1924">
                  <c:v>39085</c:v>
                </c:pt>
                <c:pt idx="1925">
                  <c:v>39086</c:v>
                </c:pt>
                <c:pt idx="1926">
                  <c:v>39087</c:v>
                </c:pt>
                <c:pt idx="1927">
                  <c:v>39090</c:v>
                </c:pt>
                <c:pt idx="1928">
                  <c:v>39091</c:v>
                </c:pt>
                <c:pt idx="1929">
                  <c:v>39092</c:v>
                </c:pt>
                <c:pt idx="1930">
                  <c:v>39093</c:v>
                </c:pt>
                <c:pt idx="1931">
                  <c:v>39094</c:v>
                </c:pt>
                <c:pt idx="1932">
                  <c:v>39097</c:v>
                </c:pt>
                <c:pt idx="1933">
                  <c:v>39098</c:v>
                </c:pt>
                <c:pt idx="1934">
                  <c:v>39099</c:v>
                </c:pt>
                <c:pt idx="1935">
                  <c:v>39100</c:v>
                </c:pt>
                <c:pt idx="1936">
                  <c:v>39101</c:v>
                </c:pt>
                <c:pt idx="1937">
                  <c:v>39104</c:v>
                </c:pt>
                <c:pt idx="1938">
                  <c:v>39105</c:v>
                </c:pt>
                <c:pt idx="1939">
                  <c:v>39106</c:v>
                </c:pt>
                <c:pt idx="1940">
                  <c:v>39107</c:v>
                </c:pt>
                <c:pt idx="1941">
                  <c:v>39108</c:v>
                </c:pt>
                <c:pt idx="1942">
                  <c:v>39111</c:v>
                </c:pt>
                <c:pt idx="1943">
                  <c:v>39112</c:v>
                </c:pt>
                <c:pt idx="1944">
                  <c:v>39113</c:v>
                </c:pt>
                <c:pt idx="1945">
                  <c:v>39114</c:v>
                </c:pt>
                <c:pt idx="1946">
                  <c:v>39115</c:v>
                </c:pt>
                <c:pt idx="1947">
                  <c:v>39118</c:v>
                </c:pt>
                <c:pt idx="1948">
                  <c:v>39119</c:v>
                </c:pt>
                <c:pt idx="1949">
                  <c:v>39120</c:v>
                </c:pt>
                <c:pt idx="1950">
                  <c:v>39121</c:v>
                </c:pt>
                <c:pt idx="1951">
                  <c:v>39122</c:v>
                </c:pt>
                <c:pt idx="1952">
                  <c:v>39125</c:v>
                </c:pt>
                <c:pt idx="1953">
                  <c:v>39126</c:v>
                </c:pt>
                <c:pt idx="1954">
                  <c:v>39127</c:v>
                </c:pt>
                <c:pt idx="1955">
                  <c:v>39128</c:v>
                </c:pt>
                <c:pt idx="1956">
                  <c:v>39129</c:v>
                </c:pt>
                <c:pt idx="1957">
                  <c:v>39132</c:v>
                </c:pt>
                <c:pt idx="1958">
                  <c:v>39133</c:v>
                </c:pt>
                <c:pt idx="1959">
                  <c:v>39134</c:v>
                </c:pt>
                <c:pt idx="1960">
                  <c:v>39135</c:v>
                </c:pt>
                <c:pt idx="1961">
                  <c:v>39136</c:v>
                </c:pt>
                <c:pt idx="1962">
                  <c:v>39139</c:v>
                </c:pt>
                <c:pt idx="1963">
                  <c:v>39140</c:v>
                </c:pt>
                <c:pt idx="1964">
                  <c:v>39141</c:v>
                </c:pt>
                <c:pt idx="1965">
                  <c:v>39142</c:v>
                </c:pt>
                <c:pt idx="1966">
                  <c:v>39143</c:v>
                </c:pt>
                <c:pt idx="1967">
                  <c:v>39146</c:v>
                </c:pt>
                <c:pt idx="1968">
                  <c:v>39147</c:v>
                </c:pt>
                <c:pt idx="1969">
                  <c:v>39148</c:v>
                </c:pt>
                <c:pt idx="1970">
                  <c:v>39149</c:v>
                </c:pt>
                <c:pt idx="1971">
                  <c:v>39150</c:v>
                </c:pt>
                <c:pt idx="1972">
                  <c:v>39153</c:v>
                </c:pt>
                <c:pt idx="1973">
                  <c:v>39154</c:v>
                </c:pt>
                <c:pt idx="1974">
                  <c:v>39155</c:v>
                </c:pt>
                <c:pt idx="1975">
                  <c:v>39156</c:v>
                </c:pt>
                <c:pt idx="1976">
                  <c:v>39157</c:v>
                </c:pt>
                <c:pt idx="1977">
                  <c:v>39160</c:v>
                </c:pt>
                <c:pt idx="1978">
                  <c:v>39161</c:v>
                </c:pt>
                <c:pt idx="1979">
                  <c:v>39162</c:v>
                </c:pt>
                <c:pt idx="1980">
                  <c:v>39163</c:v>
                </c:pt>
                <c:pt idx="1981">
                  <c:v>39164</c:v>
                </c:pt>
                <c:pt idx="1982">
                  <c:v>39167</c:v>
                </c:pt>
                <c:pt idx="1983">
                  <c:v>39168</c:v>
                </c:pt>
                <c:pt idx="1984">
                  <c:v>39169</c:v>
                </c:pt>
                <c:pt idx="1985">
                  <c:v>39170</c:v>
                </c:pt>
                <c:pt idx="1986">
                  <c:v>39171</c:v>
                </c:pt>
                <c:pt idx="1987">
                  <c:v>39174</c:v>
                </c:pt>
                <c:pt idx="1988">
                  <c:v>39175</c:v>
                </c:pt>
                <c:pt idx="1989">
                  <c:v>39176</c:v>
                </c:pt>
                <c:pt idx="1990">
                  <c:v>39177</c:v>
                </c:pt>
                <c:pt idx="1991">
                  <c:v>39178</c:v>
                </c:pt>
                <c:pt idx="1992">
                  <c:v>39181</c:v>
                </c:pt>
                <c:pt idx="1993">
                  <c:v>39182</c:v>
                </c:pt>
                <c:pt idx="1994">
                  <c:v>39183</c:v>
                </c:pt>
                <c:pt idx="1995">
                  <c:v>39184</c:v>
                </c:pt>
                <c:pt idx="1996">
                  <c:v>39185</c:v>
                </c:pt>
                <c:pt idx="1997">
                  <c:v>39188</c:v>
                </c:pt>
                <c:pt idx="1998">
                  <c:v>39189</c:v>
                </c:pt>
                <c:pt idx="1999">
                  <c:v>39190</c:v>
                </c:pt>
                <c:pt idx="2000">
                  <c:v>39191</c:v>
                </c:pt>
                <c:pt idx="2001">
                  <c:v>39192</c:v>
                </c:pt>
                <c:pt idx="2002">
                  <c:v>39195</c:v>
                </c:pt>
                <c:pt idx="2003">
                  <c:v>39196</c:v>
                </c:pt>
                <c:pt idx="2004">
                  <c:v>39197</c:v>
                </c:pt>
                <c:pt idx="2005">
                  <c:v>39198</c:v>
                </c:pt>
                <c:pt idx="2006">
                  <c:v>39199</c:v>
                </c:pt>
                <c:pt idx="2007">
                  <c:v>39202</c:v>
                </c:pt>
                <c:pt idx="2008">
                  <c:v>39203</c:v>
                </c:pt>
                <c:pt idx="2009">
                  <c:v>39204</c:v>
                </c:pt>
                <c:pt idx="2010">
                  <c:v>39205</c:v>
                </c:pt>
                <c:pt idx="2011">
                  <c:v>39206</c:v>
                </c:pt>
                <c:pt idx="2012">
                  <c:v>39209</c:v>
                </c:pt>
                <c:pt idx="2013">
                  <c:v>39210</c:v>
                </c:pt>
                <c:pt idx="2014">
                  <c:v>39211</c:v>
                </c:pt>
                <c:pt idx="2015">
                  <c:v>39212</c:v>
                </c:pt>
                <c:pt idx="2016">
                  <c:v>39213</c:v>
                </c:pt>
                <c:pt idx="2017">
                  <c:v>39216</c:v>
                </c:pt>
                <c:pt idx="2018">
                  <c:v>39217</c:v>
                </c:pt>
                <c:pt idx="2019">
                  <c:v>39218</c:v>
                </c:pt>
                <c:pt idx="2020">
                  <c:v>39219</c:v>
                </c:pt>
                <c:pt idx="2021">
                  <c:v>39220</c:v>
                </c:pt>
                <c:pt idx="2022">
                  <c:v>39223</c:v>
                </c:pt>
                <c:pt idx="2023">
                  <c:v>39224</c:v>
                </c:pt>
                <c:pt idx="2024">
                  <c:v>39225</c:v>
                </c:pt>
                <c:pt idx="2025">
                  <c:v>39226</c:v>
                </c:pt>
                <c:pt idx="2026">
                  <c:v>39227</c:v>
                </c:pt>
                <c:pt idx="2027">
                  <c:v>39230</c:v>
                </c:pt>
                <c:pt idx="2028">
                  <c:v>39231</c:v>
                </c:pt>
                <c:pt idx="2029">
                  <c:v>39232</c:v>
                </c:pt>
                <c:pt idx="2030">
                  <c:v>39233</c:v>
                </c:pt>
                <c:pt idx="2031">
                  <c:v>39234</c:v>
                </c:pt>
                <c:pt idx="2032">
                  <c:v>39237</c:v>
                </c:pt>
                <c:pt idx="2033">
                  <c:v>39238</c:v>
                </c:pt>
                <c:pt idx="2034">
                  <c:v>39239</c:v>
                </c:pt>
                <c:pt idx="2035">
                  <c:v>39240</c:v>
                </c:pt>
                <c:pt idx="2036">
                  <c:v>39241</c:v>
                </c:pt>
                <c:pt idx="2037">
                  <c:v>39244</c:v>
                </c:pt>
                <c:pt idx="2038">
                  <c:v>39245</c:v>
                </c:pt>
                <c:pt idx="2039">
                  <c:v>39246</c:v>
                </c:pt>
                <c:pt idx="2040">
                  <c:v>39247</c:v>
                </c:pt>
                <c:pt idx="2041">
                  <c:v>39248</c:v>
                </c:pt>
                <c:pt idx="2042">
                  <c:v>39251</c:v>
                </c:pt>
                <c:pt idx="2043">
                  <c:v>39252</c:v>
                </c:pt>
                <c:pt idx="2044">
                  <c:v>39253</c:v>
                </c:pt>
                <c:pt idx="2045">
                  <c:v>39254</c:v>
                </c:pt>
                <c:pt idx="2046">
                  <c:v>39255</c:v>
                </c:pt>
                <c:pt idx="2047">
                  <c:v>39258</c:v>
                </c:pt>
                <c:pt idx="2048">
                  <c:v>39259</c:v>
                </c:pt>
                <c:pt idx="2049">
                  <c:v>39260</c:v>
                </c:pt>
                <c:pt idx="2050">
                  <c:v>39261</c:v>
                </c:pt>
                <c:pt idx="2051">
                  <c:v>39262</c:v>
                </c:pt>
                <c:pt idx="2052">
                  <c:v>39265</c:v>
                </c:pt>
                <c:pt idx="2053">
                  <c:v>39266</c:v>
                </c:pt>
                <c:pt idx="2054">
                  <c:v>39267</c:v>
                </c:pt>
                <c:pt idx="2055">
                  <c:v>39268</c:v>
                </c:pt>
                <c:pt idx="2056">
                  <c:v>39269</c:v>
                </c:pt>
                <c:pt idx="2057">
                  <c:v>39272</c:v>
                </c:pt>
                <c:pt idx="2058">
                  <c:v>39273</c:v>
                </c:pt>
                <c:pt idx="2059">
                  <c:v>39274</c:v>
                </c:pt>
                <c:pt idx="2060">
                  <c:v>39275</c:v>
                </c:pt>
                <c:pt idx="2061">
                  <c:v>39276</c:v>
                </c:pt>
                <c:pt idx="2062">
                  <c:v>39279</c:v>
                </c:pt>
                <c:pt idx="2063">
                  <c:v>39280</c:v>
                </c:pt>
                <c:pt idx="2064">
                  <c:v>39281</c:v>
                </c:pt>
                <c:pt idx="2065">
                  <c:v>39282</c:v>
                </c:pt>
                <c:pt idx="2066">
                  <c:v>39283</c:v>
                </c:pt>
                <c:pt idx="2067">
                  <c:v>39286</c:v>
                </c:pt>
                <c:pt idx="2068">
                  <c:v>39287</c:v>
                </c:pt>
                <c:pt idx="2069">
                  <c:v>39288</c:v>
                </c:pt>
                <c:pt idx="2070">
                  <c:v>39289</c:v>
                </c:pt>
                <c:pt idx="2071">
                  <c:v>39290</c:v>
                </c:pt>
                <c:pt idx="2072">
                  <c:v>39293</c:v>
                </c:pt>
                <c:pt idx="2073">
                  <c:v>39294</c:v>
                </c:pt>
                <c:pt idx="2074">
                  <c:v>39295</c:v>
                </c:pt>
                <c:pt idx="2075">
                  <c:v>39296</c:v>
                </c:pt>
                <c:pt idx="2076">
                  <c:v>39297</c:v>
                </c:pt>
                <c:pt idx="2077">
                  <c:v>39300</c:v>
                </c:pt>
                <c:pt idx="2078">
                  <c:v>39301</c:v>
                </c:pt>
                <c:pt idx="2079">
                  <c:v>39302</c:v>
                </c:pt>
                <c:pt idx="2080">
                  <c:v>39303</c:v>
                </c:pt>
                <c:pt idx="2081">
                  <c:v>39304</c:v>
                </c:pt>
                <c:pt idx="2082">
                  <c:v>39307</c:v>
                </c:pt>
                <c:pt idx="2083">
                  <c:v>39308</c:v>
                </c:pt>
                <c:pt idx="2084">
                  <c:v>39309</c:v>
                </c:pt>
                <c:pt idx="2085">
                  <c:v>39310</c:v>
                </c:pt>
                <c:pt idx="2086">
                  <c:v>39311</c:v>
                </c:pt>
                <c:pt idx="2087">
                  <c:v>39314</c:v>
                </c:pt>
                <c:pt idx="2088">
                  <c:v>39315</c:v>
                </c:pt>
                <c:pt idx="2089">
                  <c:v>39316</c:v>
                </c:pt>
                <c:pt idx="2090">
                  <c:v>39317</c:v>
                </c:pt>
                <c:pt idx="2091">
                  <c:v>39318</c:v>
                </c:pt>
                <c:pt idx="2092">
                  <c:v>39321</c:v>
                </c:pt>
                <c:pt idx="2093">
                  <c:v>39322</c:v>
                </c:pt>
                <c:pt idx="2094">
                  <c:v>39323</c:v>
                </c:pt>
                <c:pt idx="2095">
                  <c:v>39324</c:v>
                </c:pt>
                <c:pt idx="2096">
                  <c:v>39325</c:v>
                </c:pt>
                <c:pt idx="2097">
                  <c:v>39328</c:v>
                </c:pt>
                <c:pt idx="2098">
                  <c:v>39329</c:v>
                </c:pt>
                <c:pt idx="2099">
                  <c:v>39330</c:v>
                </c:pt>
                <c:pt idx="2100">
                  <c:v>39331</c:v>
                </c:pt>
                <c:pt idx="2101">
                  <c:v>39332</c:v>
                </c:pt>
                <c:pt idx="2102">
                  <c:v>39335</c:v>
                </c:pt>
                <c:pt idx="2103">
                  <c:v>39336</c:v>
                </c:pt>
                <c:pt idx="2104">
                  <c:v>39337</c:v>
                </c:pt>
                <c:pt idx="2105">
                  <c:v>39338</c:v>
                </c:pt>
                <c:pt idx="2106">
                  <c:v>39339</c:v>
                </c:pt>
                <c:pt idx="2107">
                  <c:v>39342</c:v>
                </c:pt>
                <c:pt idx="2108">
                  <c:v>39343</c:v>
                </c:pt>
                <c:pt idx="2109">
                  <c:v>39344</c:v>
                </c:pt>
                <c:pt idx="2110">
                  <c:v>39345</c:v>
                </c:pt>
                <c:pt idx="2111">
                  <c:v>39346</c:v>
                </c:pt>
                <c:pt idx="2112">
                  <c:v>39349</c:v>
                </c:pt>
                <c:pt idx="2113">
                  <c:v>39350</c:v>
                </c:pt>
                <c:pt idx="2114">
                  <c:v>39351</c:v>
                </c:pt>
                <c:pt idx="2115">
                  <c:v>39352</c:v>
                </c:pt>
                <c:pt idx="2116">
                  <c:v>39353</c:v>
                </c:pt>
                <c:pt idx="2117">
                  <c:v>39356</c:v>
                </c:pt>
                <c:pt idx="2118">
                  <c:v>39357</c:v>
                </c:pt>
                <c:pt idx="2119">
                  <c:v>39358</c:v>
                </c:pt>
                <c:pt idx="2120">
                  <c:v>39359</c:v>
                </c:pt>
                <c:pt idx="2121">
                  <c:v>39360</c:v>
                </c:pt>
                <c:pt idx="2122">
                  <c:v>39363</c:v>
                </c:pt>
                <c:pt idx="2123">
                  <c:v>39364</c:v>
                </c:pt>
                <c:pt idx="2124">
                  <c:v>39365</c:v>
                </c:pt>
                <c:pt idx="2125">
                  <c:v>39366</c:v>
                </c:pt>
                <c:pt idx="2126">
                  <c:v>39367</c:v>
                </c:pt>
                <c:pt idx="2127">
                  <c:v>39370</c:v>
                </c:pt>
                <c:pt idx="2128">
                  <c:v>39371</c:v>
                </c:pt>
                <c:pt idx="2129">
                  <c:v>39372</c:v>
                </c:pt>
                <c:pt idx="2130">
                  <c:v>39373</c:v>
                </c:pt>
                <c:pt idx="2131">
                  <c:v>39374</c:v>
                </c:pt>
                <c:pt idx="2132">
                  <c:v>39377</c:v>
                </c:pt>
                <c:pt idx="2133">
                  <c:v>39378</c:v>
                </c:pt>
                <c:pt idx="2134">
                  <c:v>39379</c:v>
                </c:pt>
                <c:pt idx="2135">
                  <c:v>39380</c:v>
                </c:pt>
                <c:pt idx="2136">
                  <c:v>39381</c:v>
                </c:pt>
                <c:pt idx="2137">
                  <c:v>39384</c:v>
                </c:pt>
                <c:pt idx="2138">
                  <c:v>39385</c:v>
                </c:pt>
                <c:pt idx="2139">
                  <c:v>39386</c:v>
                </c:pt>
                <c:pt idx="2140">
                  <c:v>39387</c:v>
                </c:pt>
                <c:pt idx="2141">
                  <c:v>39388</c:v>
                </c:pt>
                <c:pt idx="2142">
                  <c:v>39391</c:v>
                </c:pt>
                <c:pt idx="2143">
                  <c:v>39392</c:v>
                </c:pt>
                <c:pt idx="2144">
                  <c:v>39393</c:v>
                </c:pt>
                <c:pt idx="2145">
                  <c:v>39394</c:v>
                </c:pt>
                <c:pt idx="2146">
                  <c:v>39395</c:v>
                </c:pt>
                <c:pt idx="2147">
                  <c:v>39398</c:v>
                </c:pt>
                <c:pt idx="2148">
                  <c:v>39399</c:v>
                </c:pt>
                <c:pt idx="2149">
                  <c:v>39400</c:v>
                </c:pt>
                <c:pt idx="2150">
                  <c:v>39401</c:v>
                </c:pt>
                <c:pt idx="2151">
                  <c:v>39402</c:v>
                </c:pt>
                <c:pt idx="2152">
                  <c:v>39405</c:v>
                </c:pt>
                <c:pt idx="2153">
                  <c:v>39406</c:v>
                </c:pt>
                <c:pt idx="2154">
                  <c:v>39407</c:v>
                </c:pt>
                <c:pt idx="2155">
                  <c:v>39408</c:v>
                </c:pt>
                <c:pt idx="2156">
                  <c:v>39409</c:v>
                </c:pt>
                <c:pt idx="2157">
                  <c:v>39412</c:v>
                </c:pt>
                <c:pt idx="2158">
                  <c:v>39413</c:v>
                </c:pt>
                <c:pt idx="2159">
                  <c:v>39414</c:v>
                </c:pt>
                <c:pt idx="2160">
                  <c:v>39415</c:v>
                </c:pt>
                <c:pt idx="2161">
                  <c:v>39416</c:v>
                </c:pt>
                <c:pt idx="2162">
                  <c:v>39419</c:v>
                </c:pt>
                <c:pt idx="2163">
                  <c:v>39420</c:v>
                </c:pt>
                <c:pt idx="2164">
                  <c:v>39421</c:v>
                </c:pt>
                <c:pt idx="2165">
                  <c:v>39422</c:v>
                </c:pt>
                <c:pt idx="2166">
                  <c:v>39423</c:v>
                </c:pt>
                <c:pt idx="2167">
                  <c:v>39426</c:v>
                </c:pt>
                <c:pt idx="2168">
                  <c:v>39427</c:v>
                </c:pt>
                <c:pt idx="2169">
                  <c:v>39428</c:v>
                </c:pt>
                <c:pt idx="2170">
                  <c:v>39429</c:v>
                </c:pt>
                <c:pt idx="2171">
                  <c:v>39430</c:v>
                </c:pt>
                <c:pt idx="2172">
                  <c:v>39433</c:v>
                </c:pt>
                <c:pt idx="2173">
                  <c:v>39434</c:v>
                </c:pt>
                <c:pt idx="2174">
                  <c:v>39435</c:v>
                </c:pt>
                <c:pt idx="2175">
                  <c:v>39436</c:v>
                </c:pt>
                <c:pt idx="2176">
                  <c:v>39437</c:v>
                </c:pt>
                <c:pt idx="2177">
                  <c:v>39440</c:v>
                </c:pt>
                <c:pt idx="2178">
                  <c:v>39441</c:v>
                </c:pt>
                <c:pt idx="2179">
                  <c:v>39442</c:v>
                </c:pt>
                <c:pt idx="2180">
                  <c:v>39443</c:v>
                </c:pt>
                <c:pt idx="2181">
                  <c:v>39444</c:v>
                </c:pt>
                <c:pt idx="2182">
                  <c:v>39447</c:v>
                </c:pt>
                <c:pt idx="2183">
                  <c:v>39448</c:v>
                </c:pt>
                <c:pt idx="2184">
                  <c:v>39449</c:v>
                </c:pt>
                <c:pt idx="2185">
                  <c:v>39450</c:v>
                </c:pt>
                <c:pt idx="2186">
                  <c:v>39451</c:v>
                </c:pt>
                <c:pt idx="2187">
                  <c:v>39454</c:v>
                </c:pt>
                <c:pt idx="2188">
                  <c:v>39455</c:v>
                </c:pt>
                <c:pt idx="2189">
                  <c:v>39456</c:v>
                </c:pt>
                <c:pt idx="2190">
                  <c:v>39457</c:v>
                </c:pt>
                <c:pt idx="2191">
                  <c:v>39458</c:v>
                </c:pt>
                <c:pt idx="2192">
                  <c:v>39461</c:v>
                </c:pt>
                <c:pt idx="2193">
                  <c:v>39462</c:v>
                </c:pt>
                <c:pt idx="2194">
                  <c:v>39463</c:v>
                </c:pt>
                <c:pt idx="2195">
                  <c:v>39464</c:v>
                </c:pt>
                <c:pt idx="2196">
                  <c:v>39465</c:v>
                </c:pt>
                <c:pt idx="2197">
                  <c:v>39468</c:v>
                </c:pt>
                <c:pt idx="2198">
                  <c:v>39469</c:v>
                </c:pt>
                <c:pt idx="2199">
                  <c:v>39470</c:v>
                </c:pt>
                <c:pt idx="2200">
                  <c:v>39471</c:v>
                </c:pt>
                <c:pt idx="2201">
                  <c:v>39472</c:v>
                </c:pt>
                <c:pt idx="2202">
                  <c:v>39475</c:v>
                </c:pt>
                <c:pt idx="2203">
                  <c:v>39476</c:v>
                </c:pt>
                <c:pt idx="2204">
                  <c:v>39477</c:v>
                </c:pt>
                <c:pt idx="2205">
                  <c:v>39478</c:v>
                </c:pt>
                <c:pt idx="2206">
                  <c:v>39479</c:v>
                </c:pt>
                <c:pt idx="2207">
                  <c:v>39482</c:v>
                </c:pt>
                <c:pt idx="2208">
                  <c:v>39483</c:v>
                </c:pt>
                <c:pt idx="2209">
                  <c:v>39484</c:v>
                </c:pt>
                <c:pt idx="2210">
                  <c:v>39485</c:v>
                </c:pt>
                <c:pt idx="2211">
                  <c:v>39486</c:v>
                </c:pt>
                <c:pt idx="2212">
                  <c:v>39489</c:v>
                </c:pt>
                <c:pt idx="2213">
                  <c:v>39490</c:v>
                </c:pt>
                <c:pt idx="2214">
                  <c:v>39491</c:v>
                </c:pt>
                <c:pt idx="2215">
                  <c:v>39492</c:v>
                </c:pt>
                <c:pt idx="2216">
                  <c:v>39493</c:v>
                </c:pt>
                <c:pt idx="2217">
                  <c:v>39496</c:v>
                </c:pt>
                <c:pt idx="2218">
                  <c:v>39497</c:v>
                </c:pt>
                <c:pt idx="2219">
                  <c:v>39498</c:v>
                </c:pt>
                <c:pt idx="2220">
                  <c:v>39499</c:v>
                </c:pt>
                <c:pt idx="2221">
                  <c:v>39500</c:v>
                </c:pt>
                <c:pt idx="2222">
                  <c:v>39503</c:v>
                </c:pt>
                <c:pt idx="2223">
                  <c:v>39504</c:v>
                </c:pt>
                <c:pt idx="2224">
                  <c:v>39505</c:v>
                </c:pt>
                <c:pt idx="2225">
                  <c:v>39506</c:v>
                </c:pt>
                <c:pt idx="2226">
                  <c:v>39507</c:v>
                </c:pt>
                <c:pt idx="2227">
                  <c:v>39510</c:v>
                </c:pt>
                <c:pt idx="2228">
                  <c:v>39511</c:v>
                </c:pt>
                <c:pt idx="2229">
                  <c:v>39512</c:v>
                </c:pt>
                <c:pt idx="2230">
                  <c:v>39513</c:v>
                </c:pt>
                <c:pt idx="2231">
                  <c:v>39514</c:v>
                </c:pt>
                <c:pt idx="2232">
                  <c:v>39517</c:v>
                </c:pt>
                <c:pt idx="2233">
                  <c:v>39518</c:v>
                </c:pt>
                <c:pt idx="2234">
                  <c:v>39519</c:v>
                </c:pt>
                <c:pt idx="2235">
                  <c:v>39520</c:v>
                </c:pt>
                <c:pt idx="2236">
                  <c:v>39521</c:v>
                </c:pt>
                <c:pt idx="2237">
                  <c:v>39524</c:v>
                </c:pt>
                <c:pt idx="2238">
                  <c:v>39525</c:v>
                </c:pt>
                <c:pt idx="2239">
                  <c:v>39526</c:v>
                </c:pt>
                <c:pt idx="2240">
                  <c:v>39527</c:v>
                </c:pt>
                <c:pt idx="2241">
                  <c:v>39528</c:v>
                </c:pt>
                <c:pt idx="2242">
                  <c:v>39531</c:v>
                </c:pt>
                <c:pt idx="2243">
                  <c:v>39532</c:v>
                </c:pt>
                <c:pt idx="2244">
                  <c:v>39533</c:v>
                </c:pt>
                <c:pt idx="2245">
                  <c:v>39534</c:v>
                </c:pt>
                <c:pt idx="2246">
                  <c:v>39535</c:v>
                </c:pt>
                <c:pt idx="2247">
                  <c:v>39538</c:v>
                </c:pt>
                <c:pt idx="2248">
                  <c:v>39539</c:v>
                </c:pt>
                <c:pt idx="2249">
                  <c:v>39540</c:v>
                </c:pt>
                <c:pt idx="2250">
                  <c:v>39541</c:v>
                </c:pt>
                <c:pt idx="2251">
                  <c:v>39542</c:v>
                </c:pt>
                <c:pt idx="2252">
                  <c:v>39545</c:v>
                </c:pt>
                <c:pt idx="2253">
                  <c:v>39546</c:v>
                </c:pt>
                <c:pt idx="2254">
                  <c:v>39547</c:v>
                </c:pt>
                <c:pt idx="2255">
                  <c:v>39548</c:v>
                </c:pt>
                <c:pt idx="2256">
                  <c:v>39549</c:v>
                </c:pt>
                <c:pt idx="2257">
                  <c:v>39552</c:v>
                </c:pt>
                <c:pt idx="2258">
                  <c:v>39553</c:v>
                </c:pt>
                <c:pt idx="2259">
                  <c:v>39554</c:v>
                </c:pt>
                <c:pt idx="2260">
                  <c:v>39555</c:v>
                </c:pt>
                <c:pt idx="2261">
                  <c:v>39556</c:v>
                </c:pt>
                <c:pt idx="2262">
                  <c:v>39559</c:v>
                </c:pt>
                <c:pt idx="2263">
                  <c:v>39560</c:v>
                </c:pt>
                <c:pt idx="2264">
                  <c:v>39561</c:v>
                </c:pt>
                <c:pt idx="2265">
                  <c:v>39562</c:v>
                </c:pt>
                <c:pt idx="2266">
                  <c:v>39563</c:v>
                </c:pt>
                <c:pt idx="2267">
                  <c:v>39566</c:v>
                </c:pt>
                <c:pt idx="2268">
                  <c:v>39567</c:v>
                </c:pt>
                <c:pt idx="2269">
                  <c:v>39568</c:v>
                </c:pt>
                <c:pt idx="2270">
                  <c:v>39569</c:v>
                </c:pt>
                <c:pt idx="2271">
                  <c:v>39570</c:v>
                </c:pt>
                <c:pt idx="2272">
                  <c:v>39573</c:v>
                </c:pt>
                <c:pt idx="2273">
                  <c:v>39574</c:v>
                </c:pt>
                <c:pt idx="2274">
                  <c:v>39575</c:v>
                </c:pt>
                <c:pt idx="2275">
                  <c:v>39576</c:v>
                </c:pt>
                <c:pt idx="2276">
                  <c:v>39577</c:v>
                </c:pt>
                <c:pt idx="2277">
                  <c:v>39580</c:v>
                </c:pt>
                <c:pt idx="2278">
                  <c:v>39581</c:v>
                </c:pt>
                <c:pt idx="2279">
                  <c:v>39582</c:v>
                </c:pt>
                <c:pt idx="2280">
                  <c:v>39583</c:v>
                </c:pt>
                <c:pt idx="2281">
                  <c:v>39584</c:v>
                </c:pt>
                <c:pt idx="2282">
                  <c:v>39587</c:v>
                </c:pt>
                <c:pt idx="2283">
                  <c:v>39588</c:v>
                </c:pt>
                <c:pt idx="2284">
                  <c:v>39589</c:v>
                </c:pt>
                <c:pt idx="2285">
                  <c:v>39590</c:v>
                </c:pt>
                <c:pt idx="2286">
                  <c:v>39591</c:v>
                </c:pt>
                <c:pt idx="2287">
                  <c:v>39594</c:v>
                </c:pt>
                <c:pt idx="2288">
                  <c:v>39595</c:v>
                </c:pt>
                <c:pt idx="2289">
                  <c:v>39596</c:v>
                </c:pt>
                <c:pt idx="2290">
                  <c:v>39597</c:v>
                </c:pt>
                <c:pt idx="2291">
                  <c:v>39598</c:v>
                </c:pt>
                <c:pt idx="2292">
                  <c:v>39601</c:v>
                </c:pt>
                <c:pt idx="2293">
                  <c:v>39602</c:v>
                </c:pt>
                <c:pt idx="2294">
                  <c:v>39603</c:v>
                </c:pt>
                <c:pt idx="2295">
                  <c:v>39604</c:v>
                </c:pt>
                <c:pt idx="2296">
                  <c:v>39605</c:v>
                </c:pt>
                <c:pt idx="2297">
                  <c:v>39608</c:v>
                </c:pt>
                <c:pt idx="2298">
                  <c:v>39609</c:v>
                </c:pt>
                <c:pt idx="2299">
                  <c:v>39610</c:v>
                </c:pt>
                <c:pt idx="2300">
                  <c:v>39611</c:v>
                </c:pt>
                <c:pt idx="2301">
                  <c:v>39612</c:v>
                </c:pt>
                <c:pt idx="2302">
                  <c:v>39615</c:v>
                </c:pt>
                <c:pt idx="2303">
                  <c:v>39616</c:v>
                </c:pt>
                <c:pt idx="2304">
                  <c:v>39617</c:v>
                </c:pt>
                <c:pt idx="2305">
                  <c:v>39618</c:v>
                </c:pt>
                <c:pt idx="2306">
                  <c:v>39619</c:v>
                </c:pt>
                <c:pt idx="2307">
                  <c:v>39622</c:v>
                </c:pt>
                <c:pt idx="2308">
                  <c:v>39623</c:v>
                </c:pt>
                <c:pt idx="2309">
                  <c:v>39624</c:v>
                </c:pt>
                <c:pt idx="2310">
                  <c:v>39625</c:v>
                </c:pt>
                <c:pt idx="2311">
                  <c:v>39626</c:v>
                </c:pt>
                <c:pt idx="2312">
                  <c:v>39629</c:v>
                </c:pt>
                <c:pt idx="2313">
                  <c:v>39630</c:v>
                </c:pt>
                <c:pt idx="2314">
                  <c:v>39631</c:v>
                </c:pt>
                <c:pt idx="2315">
                  <c:v>39632</c:v>
                </c:pt>
                <c:pt idx="2316">
                  <c:v>39633</c:v>
                </c:pt>
                <c:pt idx="2317">
                  <c:v>39636</c:v>
                </c:pt>
                <c:pt idx="2318">
                  <c:v>39637</c:v>
                </c:pt>
                <c:pt idx="2319">
                  <c:v>39638</c:v>
                </c:pt>
                <c:pt idx="2320">
                  <c:v>39639</c:v>
                </c:pt>
                <c:pt idx="2321">
                  <c:v>39640</c:v>
                </c:pt>
                <c:pt idx="2322">
                  <c:v>39643</c:v>
                </c:pt>
                <c:pt idx="2323">
                  <c:v>39644</c:v>
                </c:pt>
                <c:pt idx="2324">
                  <c:v>39645</c:v>
                </c:pt>
                <c:pt idx="2325">
                  <c:v>39646</c:v>
                </c:pt>
                <c:pt idx="2326">
                  <c:v>39647</c:v>
                </c:pt>
                <c:pt idx="2327">
                  <c:v>39650</c:v>
                </c:pt>
                <c:pt idx="2328">
                  <c:v>39651</c:v>
                </c:pt>
                <c:pt idx="2329">
                  <c:v>39652</c:v>
                </c:pt>
                <c:pt idx="2330">
                  <c:v>39653</c:v>
                </c:pt>
                <c:pt idx="2331">
                  <c:v>39654</c:v>
                </c:pt>
                <c:pt idx="2332">
                  <c:v>39657</c:v>
                </c:pt>
                <c:pt idx="2333">
                  <c:v>39658</c:v>
                </c:pt>
                <c:pt idx="2334">
                  <c:v>39659</c:v>
                </c:pt>
                <c:pt idx="2335">
                  <c:v>39660</c:v>
                </c:pt>
                <c:pt idx="2336">
                  <c:v>39661</c:v>
                </c:pt>
                <c:pt idx="2337">
                  <c:v>39664</c:v>
                </c:pt>
                <c:pt idx="2338">
                  <c:v>39665</c:v>
                </c:pt>
                <c:pt idx="2339">
                  <c:v>39666</c:v>
                </c:pt>
                <c:pt idx="2340">
                  <c:v>39667</c:v>
                </c:pt>
                <c:pt idx="2341">
                  <c:v>39668</c:v>
                </c:pt>
                <c:pt idx="2342">
                  <c:v>39671</c:v>
                </c:pt>
                <c:pt idx="2343">
                  <c:v>39672</c:v>
                </c:pt>
                <c:pt idx="2344">
                  <c:v>39673</c:v>
                </c:pt>
                <c:pt idx="2345">
                  <c:v>39674</c:v>
                </c:pt>
                <c:pt idx="2346">
                  <c:v>39675</c:v>
                </c:pt>
                <c:pt idx="2347">
                  <c:v>39678</c:v>
                </c:pt>
                <c:pt idx="2348">
                  <c:v>39679</c:v>
                </c:pt>
                <c:pt idx="2349">
                  <c:v>39680</c:v>
                </c:pt>
                <c:pt idx="2350">
                  <c:v>39681</c:v>
                </c:pt>
                <c:pt idx="2351">
                  <c:v>39682</c:v>
                </c:pt>
                <c:pt idx="2352">
                  <c:v>39685</c:v>
                </c:pt>
                <c:pt idx="2353">
                  <c:v>39686</c:v>
                </c:pt>
                <c:pt idx="2354">
                  <c:v>39687</c:v>
                </c:pt>
                <c:pt idx="2355">
                  <c:v>39688</c:v>
                </c:pt>
                <c:pt idx="2356">
                  <c:v>39689</c:v>
                </c:pt>
                <c:pt idx="2357">
                  <c:v>39692</c:v>
                </c:pt>
                <c:pt idx="2358">
                  <c:v>39693</c:v>
                </c:pt>
                <c:pt idx="2359">
                  <c:v>39694</c:v>
                </c:pt>
                <c:pt idx="2360">
                  <c:v>39695</c:v>
                </c:pt>
                <c:pt idx="2361">
                  <c:v>39696</c:v>
                </c:pt>
                <c:pt idx="2362">
                  <c:v>39699</c:v>
                </c:pt>
                <c:pt idx="2363">
                  <c:v>39700</c:v>
                </c:pt>
                <c:pt idx="2364">
                  <c:v>39701</c:v>
                </c:pt>
                <c:pt idx="2365">
                  <c:v>39702</c:v>
                </c:pt>
                <c:pt idx="2366">
                  <c:v>39703</c:v>
                </c:pt>
                <c:pt idx="2367">
                  <c:v>39706</c:v>
                </c:pt>
                <c:pt idx="2368">
                  <c:v>39707</c:v>
                </c:pt>
                <c:pt idx="2369">
                  <c:v>39708</c:v>
                </c:pt>
                <c:pt idx="2370">
                  <c:v>39709</c:v>
                </c:pt>
                <c:pt idx="2371">
                  <c:v>39710</c:v>
                </c:pt>
                <c:pt idx="2372">
                  <c:v>39713</c:v>
                </c:pt>
                <c:pt idx="2373">
                  <c:v>39714</c:v>
                </c:pt>
                <c:pt idx="2374">
                  <c:v>39715</c:v>
                </c:pt>
                <c:pt idx="2375">
                  <c:v>39716</c:v>
                </c:pt>
                <c:pt idx="2376">
                  <c:v>39717</c:v>
                </c:pt>
                <c:pt idx="2377">
                  <c:v>39720</c:v>
                </c:pt>
                <c:pt idx="2378">
                  <c:v>39721</c:v>
                </c:pt>
                <c:pt idx="2379">
                  <c:v>39722</c:v>
                </c:pt>
                <c:pt idx="2380">
                  <c:v>39723</c:v>
                </c:pt>
                <c:pt idx="2381">
                  <c:v>39724</c:v>
                </c:pt>
                <c:pt idx="2382">
                  <c:v>39727</c:v>
                </c:pt>
                <c:pt idx="2383">
                  <c:v>39728</c:v>
                </c:pt>
                <c:pt idx="2384">
                  <c:v>39729</c:v>
                </c:pt>
                <c:pt idx="2385">
                  <c:v>39730</c:v>
                </c:pt>
                <c:pt idx="2386">
                  <c:v>39731</c:v>
                </c:pt>
                <c:pt idx="2387">
                  <c:v>39734</c:v>
                </c:pt>
                <c:pt idx="2388">
                  <c:v>39735</c:v>
                </c:pt>
                <c:pt idx="2389">
                  <c:v>39736</c:v>
                </c:pt>
                <c:pt idx="2390">
                  <c:v>39737</c:v>
                </c:pt>
                <c:pt idx="2391">
                  <c:v>39738</c:v>
                </c:pt>
                <c:pt idx="2392">
                  <c:v>39741</c:v>
                </c:pt>
                <c:pt idx="2393">
                  <c:v>39742</c:v>
                </c:pt>
                <c:pt idx="2394">
                  <c:v>39743</c:v>
                </c:pt>
                <c:pt idx="2395">
                  <c:v>39744</c:v>
                </c:pt>
                <c:pt idx="2396">
                  <c:v>39745</c:v>
                </c:pt>
                <c:pt idx="2397">
                  <c:v>39748</c:v>
                </c:pt>
                <c:pt idx="2398">
                  <c:v>39749</c:v>
                </c:pt>
                <c:pt idx="2399">
                  <c:v>39750</c:v>
                </c:pt>
                <c:pt idx="2400">
                  <c:v>39751</c:v>
                </c:pt>
                <c:pt idx="2401">
                  <c:v>39752</c:v>
                </c:pt>
                <c:pt idx="2402">
                  <c:v>39755</c:v>
                </c:pt>
                <c:pt idx="2403">
                  <c:v>39756</c:v>
                </c:pt>
                <c:pt idx="2404">
                  <c:v>39757</c:v>
                </c:pt>
                <c:pt idx="2405">
                  <c:v>39758</c:v>
                </c:pt>
                <c:pt idx="2406">
                  <c:v>39759</c:v>
                </c:pt>
                <c:pt idx="2407">
                  <c:v>39762</c:v>
                </c:pt>
                <c:pt idx="2408">
                  <c:v>39763</c:v>
                </c:pt>
                <c:pt idx="2409">
                  <c:v>39764</c:v>
                </c:pt>
                <c:pt idx="2410">
                  <c:v>39765</c:v>
                </c:pt>
                <c:pt idx="2411">
                  <c:v>39766</c:v>
                </c:pt>
                <c:pt idx="2412">
                  <c:v>39769</c:v>
                </c:pt>
                <c:pt idx="2413">
                  <c:v>39770</c:v>
                </c:pt>
                <c:pt idx="2414">
                  <c:v>39771</c:v>
                </c:pt>
                <c:pt idx="2415">
                  <c:v>39772</c:v>
                </c:pt>
                <c:pt idx="2416">
                  <c:v>39773</c:v>
                </c:pt>
                <c:pt idx="2417">
                  <c:v>39776</c:v>
                </c:pt>
                <c:pt idx="2418">
                  <c:v>39777</c:v>
                </c:pt>
                <c:pt idx="2419">
                  <c:v>39778</c:v>
                </c:pt>
                <c:pt idx="2420">
                  <c:v>39779</c:v>
                </c:pt>
                <c:pt idx="2421">
                  <c:v>39780</c:v>
                </c:pt>
                <c:pt idx="2422">
                  <c:v>39783</c:v>
                </c:pt>
                <c:pt idx="2423">
                  <c:v>39784</c:v>
                </c:pt>
                <c:pt idx="2424">
                  <c:v>39785</c:v>
                </c:pt>
                <c:pt idx="2425">
                  <c:v>39786</c:v>
                </c:pt>
                <c:pt idx="2426">
                  <c:v>39787</c:v>
                </c:pt>
                <c:pt idx="2427">
                  <c:v>39790</c:v>
                </c:pt>
                <c:pt idx="2428">
                  <c:v>39791</c:v>
                </c:pt>
                <c:pt idx="2429">
                  <c:v>39792</c:v>
                </c:pt>
                <c:pt idx="2430">
                  <c:v>39793</c:v>
                </c:pt>
                <c:pt idx="2431">
                  <c:v>39794</c:v>
                </c:pt>
                <c:pt idx="2432">
                  <c:v>39797</c:v>
                </c:pt>
                <c:pt idx="2433">
                  <c:v>39798</c:v>
                </c:pt>
                <c:pt idx="2434">
                  <c:v>39799</c:v>
                </c:pt>
                <c:pt idx="2435">
                  <c:v>39800</c:v>
                </c:pt>
                <c:pt idx="2436">
                  <c:v>39801</c:v>
                </c:pt>
                <c:pt idx="2437">
                  <c:v>39804</c:v>
                </c:pt>
                <c:pt idx="2438">
                  <c:v>39805</c:v>
                </c:pt>
                <c:pt idx="2439">
                  <c:v>39806</c:v>
                </c:pt>
                <c:pt idx="2440">
                  <c:v>39807</c:v>
                </c:pt>
                <c:pt idx="2441">
                  <c:v>39808</c:v>
                </c:pt>
                <c:pt idx="2442">
                  <c:v>39811</c:v>
                </c:pt>
                <c:pt idx="2443">
                  <c:v>39812</c:v>
                </c:pt>
                <c:pt idx="2444">
                  <c:v>39813</c:v>
                </c:pt>
                <c:pt idx="2445">
                  <c:v>39814</c:v>
                </c:pt>
                <c:pt idx="2446">
                  <c:v>39815</c:v>
                </c:pt>
                <c:pt idx="2447">
                  <c:v>39818</c:v>
                </c:pt>
                <c:pt idx="2448">
                  <c:v>39819</c:v>
                </c:pt>
                <c:pt idx="2449">
                  <c:v>39820</c:v>
                </c:pt>
                <c:pt idx="2450">
                  <c:v>39821</c:v>
                </c:pt>
                <c:pt idx="2451">
                  <c:v>39822</c:v>
                </c:pt>
                <c:pt idx="2452">
                  <c:v>39825</c:v>
                </c:pt>
                <c:pt idx="2453">
                  <c:v>39826</c:v>
                </c:pt>
                <c:pt idx="2454">
                  <c:v>39827</c:v>
                </c:pt>
                <c:pt idx="2455">
                  <c:v>39828</c:v>
                </c:pt>
                <c:pt idx="2456">
                  <c:v>39829</c:v>
                </c:pt>
                <c:pt idx="2457">
                  <c:v>39832</c:v>
                </c:pt>
                <c:pt idx="2458">
                  <c:v>39833</c:v>
                </c:pt>
                <c:pt idx="2459">
                  <c:v>39834</c:v>
                </c:pt>
                <c:pt idx="2460">
                  <c:v>39835</c:v>
                </c:pt>
                <c:pt idx="2461">
                  <c:v>39836</c:v>
                </c:pt>
                <c:pt idx="2462">
                  <c:v>39839</c:v>
                </c:pt>
                <c:pt idx="2463">
                  <c:v>39840</c:v>
                </c:pt>
                <c:pt idx="2464">
                  <c:v>39841</c:v>
                </c:pt>
                <c:pt idx="2465">
                  <c:v>39842</c:v>
                </c:pt>
                <c:pt idx="2466">
                  <c:v>39843</c:v>
                </c:pt>
                <c:pt idx="2467">
                  <c:v>39846</c:v>
                </c:pt>
                <c:pt idx="2468">
                  <c:v>39847</c:v>
                </c:pt>
                <c:pt idx="2469">
                  <c:v>39848</c:v>
                </c:pt>
                <c:pt idx="2470">
                  <c:v>39849</c:v>
                </c:pt>
                <c:pt idx="2471">
                  <c:v>39850</c:v>
                </c:pt>
                <c:pt idx="2472">
                  <c:v>39853</c:v>
                </c:pt>
                <c:pt idx="2473">
                  <c:v>39854</c:v>
                </c:pt>
                <c:pt idx="2474">
                  <c:v>39855</c:v>
                </c:pt>
                <c:pt idx="2475">
                  <c:v>39856</c:v>
                </c:pt>
                <c:pt idx="2476">
                  <c:v>39857</c:v>
                </c:pt>
                <c:pt idx="2477">
                  <c:v>39860</c:v>
                </c:pt>
                <c:pt idx="2478">
                  <c:v>39861</c:v>
                </c:pt>
                <c:pt idx="2479">
                  <c:v>39862</c:v>
                </c:pt>
                <c:pt idx="2480">
                  <c:v>39863</c:v>
                </c:pt>
                <c:pt idx="2481">
                  <c:v>39864</c:v>
                </c:pt>
                <c:pt idx="2482">
                  <c:v>39867</c:v>
                </c:pt>
                <c:pt idx="2483">
                  <c:v>39868</c:v>
                </c:pt>
                <c:pt idx="2484">
                  <c:v>39869</c:v>
                </c:pt>
                <c:pt idx="2485">
                  <c:v>39870</c:v>
                </c:pt>
                <c:pt idx="2486">
                  <c:v>39871</c:v>
                </c:pt>
                <c:pt idx="2487">
                  <c:v>39874</c:v>
                </c:pt>
                <c:pt idx="2488">
                  <c:v>39875</c:v>
                </c:pt>
                <c:pt idx="2489">
                  <c:v>39876</c:v>
                </c:pt>
                <c:pt idx="2490">
                  <c:v>39877</c:v>
                </c:pt>
                <c:pt idx="2491">
                  <c:v>39878</c:v>
                </c:pt>
                <c:pt idx="2492">
                  <c:v>39881</c:v>
                </c:pt>
                <c:pt idx="2493">
                  <c:v>39882</c:v>
                </c:pt>
                <c:pt idx="2494">
                  <c:v>39883</c:v>
                </c:pt>
                <c:pt idx="2495">
                  <c:v>39884</c:v>
                </c:pt>
                <c:pt idx="2496">
                  <c:v>39885</c:v>
                </c:pt>
                <c:pt idx="2497">
                  <c:v>39888</c:v>
                </c:pt>
                <c:pt idx="2498">
                  <c:v>39889</c:v>
                </c:pt>
                <c:pt idx="2499">
                  <c:v>39890</c:v>
                </c:pt>
                <c:pt idx="2500">
                  <c:v>39891</c:v>
                </c:pt>
                <c:pt idx="2501">
                  <c:v>39892</c:v>
                </c:pt>
                <c:pt idx="2502">
                  <c:v>39895</c:v>
                </c:pt>
                <c:pt idx="2503">
                  <c:v>39896</c:v>
                </c:pt>
                <c:pt idx="2504">
                  <c:v>39897</c:v>
                </c:pt>
                <c:pt idx="2505">
                  <c:v>39898</c:v>
                </c:pt>
                <c:pt idx="2506">
                  <c:v>39899</c:v>
                </c:pt>
                <c:pt idx="2507">
                  <c:v>39902</c:v>
                </c:pt>
                <c:pt idx="2508">
                  <c:v>39903</c:v>
                </c:pt>
                <c:pt idx="2509">
                  <c:v>39904</c:v>
                </c:pt>
                <c:pt idx="2510">
                  <c:v>39905</c:v>
                </c:pt>
                <c:pt idx="2511">
                  <c:v>39906</c:v>
                </c:pt>
                <c:pt idx="2512">
                  <c:v>39909</c:v>
                </c:pt>
                <c:pt idx="2513">
                  <c:v>39910</c:v>
                </c:pt>
                <c:pt idx="2514">
                  <c:v>39911</c:v>
                </c:pt>
                <c:pt idx="2515">
                  <c:v>39912</c:v>
                </c:pt>
                <c:pt idx="2516">
                  <c:v>39913</c:v>
                </c:pt>
                <c:pt idx="2517">
                  <c:v>39916</c:v>
                </c:pt>
                <c:pt idx="2518">
                  <c:v>39917</c:v>
                </c:pt>
                <c:pt idx="2519">
                  <c:v>39918</c:v>
                </c:pt>
                <c:pt idx="2520">
                  <c:v>39919</c:v>
                </c:pt>
                <c:pt idx="2521">
                  <c:v>39920</c:v>
                </c:pt>
                <c:pt idx="2522">
                  <c:v>39923</c:v>
                </c:pt>
                <c:pt idx="2523">
                  <c:v>39924</c:v>
                </c:pt>
                <c:pt idx="2524">
                  <c:v>39925</c:v>
                </c:pt>
                <c:pt idx="2525">
                  <c:v>39926</c:v>
                </c:pt>
                <c:pt idx="2526">
                  <c:v>39927</c:v>
                </c:pt>
                <c:pt idx="2527">
                  <c:v>39930</c:v>
                </c:pt>
                <c:pt idx="2528">
                  <c:v>39931</c:v>
                </c:pt>
                <c:pt idx="2529">
                  <c:v>39932</c:v>
                </c:pt>
                <c:pt idx="2530">
                  <c:v>39933</c:v>
                </c:pt>
                <c:pt idx="2531">
                  <c:v>39934</c:v>
                </c:pt>
                <c:pt idx="2532">
                  <c:v>39937</c:v>
                </c:pt>
                <c:pt idx="2533">
                  <c:v>39938</c:v>
                </c:pt>
                <c:pt idx="2534">
                  <c:v>39939</c:v>
                </c:pt>
                <c:pt idx="2535">
                  <c:v>39940</c:v>
                </c:pt>
                <c:pt idx="2536">
                  <c:v>39941</c:v>
                </c:pt>
                <c:pt idx="2537">
                  <c:v>39944</c:v>
                </c:pt>
                <c:pt idx="2538">
                  <c:v>39945</c:v>
                </c:pt>
                <c:pt idx="2539">
                  <c:v>39946</c:v>
                </c:pt>
                <c:pt idx="2540">
                  <c:v>39947</c:v>
                </c:pt>
                <c:pt idx="2541">
                  <c:v>39948</c:v>
                </c:pt>
                <c:pt idx="2542">
                  <c:v>39951</c:v>
                </c:pt>
                <c:pt idx="2543">
                  <c:v>39952</c:v>
                </c:pt>
                <c:pt idx="2544">
                  <c:v>39953</c:v>
                </c:pt>
                <c:pt idx="2545">
                  <c:v>39954</c:v>
                </c:pt>
                <c:pt idx="2546">
                  <c:v>39955</c:v>
                </c:pt>
                <c:pt idx="2547">
                  <c:v>39958</c:v>
                </c:pt>
                <c:pt idx="2548">
                  <c:v>39959</c:v>
                </c:pt>
                <c:pt idx="2549">
                  <c:v>39960</c:v>
                </c:pt>
                <c:pt idx="2550">
                  <c:v>39961</c:v>
                </c:pt>
                <c:pt idx="2551">
                  <c:v>39962</c:v>
                </c:pt>
                <c:pt idx="2552">
                  <c:v>39965</c:v>
                </c:pt>
                <c:pt idx="2553">
                  <c:v>39966</c:v>
                </c:pt>
                <c:pt idx="2554">
                  <c:v>39967</c:v>
                </c:pt>
                <c:pt idx="2555">
                  <c:v>39968</c:v>
                </c:pt>
                <c:pt idx="2556">
                  <c:v>39969</c:v>
                </c:pt>
                <c:pt idx="2557">
                  <c:v>39972</c:v>
                </c:pt>
                <c:pt idx="2558">
                  <c:v>39973</c:v>
                </c:pt>
                <c:pt idx="2559">
                  <c:v>39974</c:v>
                </c:pt>
                <c:pt idx="2560">
                  <c:v>39975</c:v>
                </c:pt>
                <c:pt idx="2561">
                  <c:v>39976</c:v>
                </c:pt>
                <c:pt idx="2562">
                  <c:v>39979</c:v>
                </c:pt>
                <c:pt idx="2563">
                  <c:v>39980</c:v>
                </c:pt>
                <c:pt idx="2564">
                  <c:v>39981</c:v>
                </c:pt>
                <c:pt idx="2565">
                  <c:v>39982</c:v>
                </c:pt>
                <c:pt idx="2566">
                  <c:v>39983</c:v>
                </c:pt>
                <c:pt idx="2567">
                  <c:v>39986</c:v>
                </c:pt>
                <c:pt idx="2568">
                  <c:v>39987</c:v>
                </c:pt>
                <c:pt idx="2569">
                  <c:v>39988</c:v>
                </c:pt>
                <c:pt idx="2570">
                  <c:v>39989</c:v>
                </c:pt>
                <c:pt idx="2571">
                  <c:v>39990</c:v>
                </c:pt>
                <c:pt idx="2572">
                  <c:v>39993</c:v>
                </c:pt>
                <c:pt idx="2573">
                  <c:v>39994</c:v>
                </c:pt>
                <c:pt idx="2574">
                  <c:v>39995</c:v>
                </c:pt>
                <c:pt idx="2575">
                  <c:v>39996</c:v>
                </c:pt>
                <c:pt idx="2576">
                  <c:v>39997</c:v>
                </c:pt>
                <c:pt idx="2577">
                  <c:v>40000</c:v>
                </c:pt>
                <c:pt idx="2578">
                  <c:v>40001</c:v>
                </c:pt>
                <c:pt idx="2579">
                  <c:v>40002</c:v>
                </c:pt>
                <c:pt idx="2580">
                  <c:v>40003</c:v>
                </c:pt>
                <c:pt idx="2581">
                  <c:v>40004</c:v>
                </c:pt>
                <c:pt idx="2582">
                  <c:v>40007</c:v>
                </c:pt>
                <c:pt idx="2583">
                  <c:v>40008</c:v>
                </c:pt>
                <c:pt idx="2584">
                  <c:v>40009</c:v>
                </c:pt>
                <c:pt idx="2585">
                  <c:v>40010</c:v>
                </c:pt>
                <c:pt idx="2586">
                  <c:v>40011</c:v>
                </c:pt>
                <c:pt idx="2587">
                  <c:v>40014</c:v>
                </c:pt>
                <c:pt idx="2588">
                  <c:v>40015</c:v>
                </c:pt>
                <c:pt idx="2589">
                  <c:v>40016</c:v>
                </c:pt>
                <c:pt idx="2590">
                  <c:v>40017</c:v>
                </c:pt>
                <c:pt idx="2591">
                  <c:v>40018</c:v>
                </c:pt>
                <c:pt idx="2592">
                  <c:v>40021</c:v>
                </c:pt>
                <c:pt idx="2593">
                  <c:v>40022</c:v>
                </c:pt>
                <c:pt idx="2594">
                  <c:v>40023</c:v>
                </c:pt>
                <c:pt idx="2595">
                  <c:v>40024</c:v>
                </c:pt>
                <c:pt idx="2596">
                  <c:v>40025</c:v>
                </c:pt>
                <c:pt idx="2597">
                  <c:v>40028</c:v>
                </c:pt>
                <c:pt idx="2598">
                  <c:v>40029</c:v>
                </c:pt>
                <c:pt idx="2599">
                  <c:v>40030</c:v>
                </c:pt>
                <c:pt idx="2600">
                  <c:v>40031</c:v>
                </c:pt>
                <c:pt idx="2601">
                  <c:v>40032</c:v>
                </c:pt>
                <c:pt idx="2602">
                  <c:v>40035</c:v>
                </c:pt>
                <c:pt idx="2603">
                  <c:v>40036</c:v>
                </c:pt>
                <c:pt idx="2604">
                  <c:v>40037</c:v>
                </c:pt>
                <c:pt idx="2605">
                  <c:v>40038</c:v>
                </c:pt>
                <c:pt idx="2606">
                  <c:v>40039</c:v>
                </c:pt>
                <c:pt idx="2607">
                  <c:v>40042</c:v>
                </c:pt>
                <c:pt idx="2608">
                  <c:v>40043</c:v>
                </c:pt>
                <c:pt idx="2609">
                  <c:v>40044</c:v>
                </c:pt>
                <c:pt idx="2610">
                  <c:v>40045</c:v>
                </c:pt>
                <c:pt idx="2611">
                  <c:v>40046</c:v>
                </c:pt>
                <c:pt idx="2612">
                  <c:v>40049</c:v>
                </c:pt>
                <c:pt idx="2613">
                  <c:v>40050</c:v>
                </c:pt>
                <c:pt idx="2614">
                  <c:v>40051</c:v>
                </c:pt>
                <c:pt idx="2615">
                  <c:v>40052</c:v>
                </c:pt>
                <c:pt idx="2616">
                  <c:v>40053</c:v>
                </c:pt>
                <c:pt idx="2617">
                  <c:v>40056</c:v>
                </c:pt>
                <c:pt idx="2618">
                  <c:v>40057</c:v>
                </c:pt>
                <c:pt idx="2619">
                  <c:v>40058</c:v>
                </c:pt>
                <c:pt idx="2620">
                  <c:v>40059</c:v>
                </c:pt>
                <c:pt idx="2621">
                  <c:v>40060</c:v>
                </c:pt>
                <c:pt idx="2622">
                  <c:v>40063</c:v>
                </c:pt>
                <c:pt idx="2623">
                  <c:v>40064</c:v>
                </c:pt>
                <c:pt idx="2624">
                  <c:v>40065</c:v>
                </c:pt>
                <c:pt idx="2625">
                  <c:v>40066</c:v>
                </c:pt>
                <c:pt idx="2626">
                  <c:v>40067</c:v>
                </c:pt>
                <c:pt idx="2627">
                  <c:v>40070</c:v>
                </c:pt>
                <c:pt idx="2628">
                  <c:v>40071</c:v>
                </c:pt>
                <c:pt idx="2629">
                  <c:v>40072</c:v>
                </c:pt>
                <c:pt idx="2630">
                  <c:v>40073</c:v>
                </c:pt>
                <c:pt idx="2631">
                  <c:v>40074</c:v>
                </c:pt>
                <c:pt idx="2632">
                  <c:v>40077</c:v>
                </c:pt>
                <c:pt idx="2633">
                  <c:v>40078</c:v>
                </c:pt>
                <c:pt idx="2634">
                  <c:v>40079</c:v>
                </c:pt>
                <c:pt idx="2635">
                  <c:v>40080</c:v>
                </c:pt>
                <c:pt idx="2636">
                  <c:v>40081</c:v>
                </c:pt>
                <c:pt idx="2637">
                  <c:v>40084</c:v>
                </c:pt>
                <c:pt idx="2638">
                  <c:v>40085</c:v>
                </c:pt>
                <c:pt idx="2639">
                  <c:v>40086</c:v>
                </c:pt>
                <c:pt idx="2640">
                  <c:v>40087</c:v>
                </c:pt>
                <c:pt idx="2641">
                  <c:v>40088</c:v>
                </c:pt>
                <c:pt idx="2642">
                  <c:v>40091</c:v>
                </c:pt>
                <c:pt idx="2643">
                  <c:v>40092</c:v>
                </c:pt>
                <c:pt idx="2644">
                  <c:v>40093</c:v>
                </c:pt>
                <c:pt idx="2645">
                  <c:v>40094</c:v>
                </c:pt>
                <c:pt idx="2646">
                  <c:v>40095</c:v>
                </c:pt>
                <c:pt idx="2647">
                  <c:v>40098</c:v>
                </c:pt>
                <c:pt idx="2648">
                  <c:v>40099</c:v>
                </c:pt>
                <c:pt idx="2649">
                  <c:v>40100</c:v>
                </c:pt>
                <c:pt idx="2650">
                  <c:v>40101</c:v>
                </c:pt>
                <c:pt idx="2651">
                  <c:v>40102</c:v>
                </c:pt>
                <c:pt idx="2652">
                  <c:v>40105</c:v>
                </c:pt>
                <c:pt idx="2653">
                  <c:v>40106</c:v>
                </c:pt>
                <c:pt idx="2654">
                  <c:v>40107</c:v>
                </c:pt>
                <c:pt idx="2655">
                  <c:v>40108</c:v>
                </c:pt>
                <c:pt idx="2656">
                  <c:v>40109</c:v>
                </c:pt>
                <c:pt idx="2657">
                  <c:v>40112</c:v>
                </c:pt>
                <c:pt idx="2658">
                  <c:v>40113</c:v>
                </c:pt>
                <c:pt idx="2659">
                  <c:v>40114</c:v>
                </c:pt>
                <c:pt idx="2660">
                  <c:v>40115</c:v>
                </c:pt>
                <c:pt idx="2661">
                  <c:v>40116</c:v>
                </c:pt>
                <c:pt idx="2662">
                  <c:v>40119</c:v>
                </c:pt>
                <c:pt idx="2663">
                  <c:v>40120</c:v>
                </c:pt>
                <c:pt idx="2664">
                  <c:v>40121</c:v>
                </c:pt>
                <c:pt idx="2665">
                  <c:v>40122</c:v>
                </c:pt>
                <c:pt idx="2666">
                  <c:v>40123</c:v>
                </c:pt>
                <c:pt idx="2667">
                  <c:v>40126</c:v>
                </c:pt>
                <c:pt idx="2668">
                  <c:v>40127</c:v>
                </c:pt>
                <c:pt idx="2669">
                  <c:v>40128</c:v>
                </c:pt>
                <c:pt idx="2670">
                  <c:v>40129</c:v>
                </c:pt>
                <c:pt idx="2671">
                  <c:v>40130</c:v>
                </c:pt>
                <c:pt idx="2672">
                  <c:v>40133</c:v>
                </c:pt>
                <c:pt idx="2673">
                  <c:v>40134</c:v>
                </c:pt>
                <c:pt idx="2674">
                  <c:v>40135</c:v>
                </c:pt>
                <c:pt idx="2675">
                  <c:v>40136</c:v>
                </c:pt>
                <c:pt idx="2676">
                  <c:v>40137</c:v>
                </c:pt>
                <c:pt idx="2677">
                  <c:v>40140</c:v>
                </c:pt>
                <c:pt idx="2678">
                  <c:v>40141</c:v>
                </c:pt>
                <c:pt idx="2679">
                  <c:v>40142</c:v>
                </c:pt>
                <c:pt idx="2680">
                  <c:v>40143</c:v>
                </c:pt>
                <c:pt idx="2681">
                  <c:v>40144</c:v>
                </c:pt>
                <c:pt idx="2682">
                  <c:v>40147</c:v>
                </c:pt>
                <c:pt idx="2683">
                  <c:v>40148</c:v>
                </c:pt>
                <c:pt idx="2684">
                  <c:v>40149</c:v>
                </c:pt>
                <c:pt idx="2685">
                  <c:v>40150</c:v>
                </c:pt>
                <c:pt idx="2686">
                  <c:v>40151</c:v>
                </c:pt>
                <c:pt idx="2687">
                  <c:v>40154</c:v>
                </c:pt>
                <c:pt idx="2688">
                  <c:v>40155</c:v>
                </c:pt>
                <c:pt idx="2689">
                  <c:v>40156</c:v>
                </c:pt>
                <c:pt idx="2690">
                  <c:v>40157</c:v>
                </c:pt>
                <c:pt idx="2691">
                  <c:v>40158</c:v>
                </c:pt>
                <c:pt idx="2692">
                  <c:v>40161</c:v>
                </c:pt>
                <c:pt idx="2693">
                  <c:v>40162</c:v>
                </c:pt>
                <c:pt idx="2694">
                  <c:v>40163</c:v>
                </c:pt>
                <c:pt idx="2695">
                  <c:v>40164</c:v>
                </c:pt>
                <c:pt idx="2696">
                  <c:v>40165</c:v>
                </c:pt>
                <c:pt idx="2697">
                  <c:v>40168</c:v>
                </c:pt>
                <c:pt idx="2698">
                  <c:v>40169</c:v>
                </c:pt>
                <c:pt idx="2699">
                  <c:v>40170</c:v>
                </c:pt>
                <c:pt idx="2700">
                  <c:v>40171</c:v>
                </c:pt>
                <c:pt idx="2701">
                  <c:v>40172</c:v>
                </c:pt>
                <c:pt idx="2702">
                  <c:v>40175</c:v>
                </c:pt>
                <c:pt idx="2703">
                  <c:v>40176</c:v>
                </c:pt>
                <c:pt idx="2704">
                  <c:v>40177</c:v>
                </c:pt>
                <c:pt idx="2705">
                  <c:v>40178</c:v>
                </c:pt>
                <c:pt idx="2706">
                  <c:v>40179</c:v>
                </c:pt>
                <c:pt idx="2707">
                  <c:v>40182</c:v>
                </c:pt>
                <c:pt idx="2708">
                  <c:v>40183</c:v>
                </c:pt>
                <c:pt idx="2709">
                  <c:v>40184</c:v>
                </c:pt>
                <c:pt idx="2710">
                  <c:v>40185</c:v>
                </c:pt>
                <c:pt idx="2711">
                  <c:v>40186</c:v>
                </c:pt>
                <c:pt idx="2712">
                  <c:v>40189</c:v>
                </c:pt>
                <c:pt idx="2713">
                  <c:v>40190</c:v>
                </c:pt>
                <c:pt idx="2714">
                  <c:v>40191</c:v>
                </c:pt>
                <c:pt idx="2715">
                  <c:v>40192</c:v>
                </c:pt>
                <c:pt idx="2716">
                  <c:v>40193</c:v>
                </c:pt>
                <c:pt idx="2717">
                  <c:v>40196</c:v>
                </c:pt>
                <c:pt idx="2718">
                  <c:v>40197</c:v>
                </c:pt>
                <c:pt idx="2719">
                  <c:v>40198</c:v>
                </c:pt>
                <c:pt idx="2720">
                  <c:v>40199</c:v>
                </c:pt>
                <c:pt idx="2721">
                  <c:v>40200</c:v>
                </c:pt>
                <c:pt idx="2722">
                  <c:v>40203</c:v>
                </c:pt>
                <c:pt idx="2723">
                  <c:v>40204</c:v>
                </c:pt>
                <c:pt idx="2724">
                  <c:v>40205</c:v>
                </c:pt>
                <c:pt idx="2725">
                  <c:v>40206</c:v>
                </c:pt>
                <c:pt idx="2726">
                  <c:v>40207</c:v>
                </c:pt>
                <c:pt idx="2727">
                  <c:v>40210</c:v>
                </c:pt>
                <c:pt idx="2728">
                  <c:v>40211</c:v>
                </c:pt>
                <c:pt idx="2729">
                  <c:v>40212</c:v>
                </c:pt>
                <c:pt idx="2730">
                  <c:v>40213</c:v>
                </c:pt>
                <c:pt idx="2731">
                  <c:v>40214</c:v>
                </c:pt>
                <c:pt idx="2732">
                  <c:v>40217</c:v>
                </c:pt>
                <c:pt idx="2733">
                  <c:v>40218</c:v>
                </c:pt>
                <c:pt idx="2734">
                  <c:v>40219</c:v>
                </c:pt>
                <c:pt idx="2735">
                  <c:v>40220</c:v>
                </c:pt>
                <c:pt idx="2736">
                  <c:v>40221</c:v>
                </c:pt>
                <c:pt idx="2737">
                  <c:v>40224</c:v>
                </c:pt>
                <c:pt idx="2738">
                  <c:v>40225</c:v>
                </c:pt>
                <c:pt idx="2739">
                  <c:v>40226</c:v>
                </c:pt>
                <c:pt idx="2740">
                  <c:v>40227</c:v>
                </c:pt>
                <c:pt idx="2741">
                  <c:v>40228</c:v>
                </c:pt>
                <c:pt idx="2742">
                  <c:v>40231</c:v>
                </c:pt>
                <c:pt idx="2743">
                  <c:v>40232</c:v>
                </c:pt>
                <c:pt idx="2744">
                  <c:v>40233</c:v>
                </c:pt>
                <c:pt idx="2745">
                  <c:v>40234</c:v>
                </c:pt>
                <c:pt idx="2746">
                  <c:v>40235</c:v>
                </c:pt>
                <c:pt idx="2747">
                  <c:v>40238</c:v>
                </c:pt>
                <c:pt idx="2748">
                  <c:v>40239</c:v>
                </c:pt>
                <c:pt idx="2749">
                  <c:v>40240</c:v>
                </c:pt>
                <c:pt idx="2750">
                  <c:v>40241</c:v>
                </c:pt>
                <c:pt idx="2751">
                  <c:v>40242</c:v>
                </c:pt>
                <c:pt idx="2752">
                  <c:v>40245</c:v>
                </c:pt>
                <c:pt idx="2753">
                  <c:v>40246</c:v>
                </c:pt>
                <c:pt idx="2754">
                  <c:v>40247</c:v>
                </c:pt>
                <c:pt idx="2755">
                  <c:v>40248</c:v>
                </c:pt>
                <c:pt idx="2756">
                  <c:v>40249</c:v>
                </c:pt>
                <c:pt idx="2757">
                  <c:v>40252</c:v>
                </c:pt>
                <c:pt idx="2758">
                  <c:v>40253</c:v>
                </c:pt>
                <c:pt idx="2759">
                  <c:v>40254</c:v>
                </c:pt>
                <c:pt idx="2760">
                  <c:v>40255</c:v>
                </c:pt>
                <c:pt idx="2761">
                  <c:v>40256</c:v>
                </c:pt>
                <c:pt idx="2762">
                  <c:v>40259</c:v>
                </c:pt>
                <c:pt idx="2763">
                  <c:v>40260</c:v>
                </c:pt>
                <c:pt idx="2764">
                  <c:v>40261</c:v>
                </c:pt>
                <c:pt idx="2765">
                  <c:v>40262</c:v>
                </c:pt>
                <c:pt idx="2766">
                  <c:v>40263</c:v>
                </c:pt>
                <c:pt idx="2767">
                  <c:v>40266</c:v>
                </c:pt>
                <c:pt idx="2768">
                  <c:v>40267</c:v>
                </c:pt>
                <c:pt idx="2769">
                  <c:v>40268</c:v>
                </c:pt>
                <c:pt idx="2770">
                  <c:v>40269</c:v>
                </c:pt>
                <c:pt idx="2771">
                  <c:v>40270</c:v>
                </c:pt>
                <c:pt idx="2772">
                  <c:v>40273</c:v>
                </c:pt>
                <c:pt idx="2773">
                  <c:v>40274</c:v>
                </c:pt>
                <c:pt idx="2774">
                  <c:v>40275</c:v>
                </c:pt>
                <c:pt idx="2775">
                  <c:v>40276</c:v>
                </c:pt>
                <c:pt idx="2776">
                  <c:v>40277</c:v>
                </c:pt>
                <c:pt idx="2777">
                  <c:v>40280</c:v>
                </c:pt>
                <c:pt idx="2778">
                  <c:v>40281</c:v>
                </c:pt>
                <c:pt idx="2779">
                  <c:v>40282</c:v>
                </c:pt>
                <c:pt idx="2780">
                  <c:v>40283</c:v>
                </c:pt>
                <c:pt idx="2781">
                  <c:v>40284</c:v>
                </c:pt>
                <c:pt idx="2782">
                  <c:v>40287</c:v>
                </c:pt>
                <c:pt idx="2783">
                  <c:v>40288</c:v>
                </c:pt>
                <c:pt idx="2784">
                  <c:v>40289</c:v>
                </c:pt>
                <c:pt idx="2785">
                  <c:v>40290</c:v>
                </c:pt>
                <c:pt idx="2786">
                  <c:v>40291</c:v>
                </c:pt>
                <c:pt idx="2787">
                  <c:v>40294</c:v>
                </c:pt>
                <c:pt idx="2788">
                  <c:v>40295</c:v>
                </c:pt>
                <c:pt idx="2789">
                  <c:v>40296</c:v>
                </c:pt>
                <c:pt idx="2790">
                  <c:v>40297</c:v>
                </c:pt>
                <c:pt idx="2791">
                  <c:v>40298</c:v>
                </c:pt>
                <c:pt idx="2792">
                  <c:v>40301</c:v>
                </c:pt>
                <c:pt idx="2793">
                  <c:v>40302</c:v>
                </c:pt>
                <c:pt idx="2794">
                  <c:v>40303</c:v>
                </c:pt>
                <c:pt idx="2795">
                  <c:v>40304</c:v>
                </c:pt>
                <c:pt idx="2796">
                  <c:v>40305</c:v>
                </c:pt>
                <c:pt idx="2797">
                  <c:v>40308</c:v>
                </c:pt>
                <c:pt idx="2798">
                  <c:v>40309</c:v>
                </c:pt>
                <c:pt idx="2799">
                  <c:v>40310</c:v>
                </c:pt>
                <c:pt idx="2800">
                  <c:v>40311</c:v>
                </c:pt>
                <c:pt idx="2801">
                  <c:v>40312</c:v>
                </c:pt>
                <c:pt idx="2802">
                  <c:v>40315</c:v>
                </c:pt>
                <c:pt idx="2803">
                  <c:v>40316</c:v>
                </c:pt>
                <c:pt idx="2804">
                  <c:v>40317</c:v>
                </c:pt>
                <c:pt idx="2805">
                  <c:v>40318</c:v>
                </c:pt>
                <c:pt idx="2806">
                  <c:v>40319</c:v>
                </c:pt>
                <c:pt idx="2807">
                  <c:v>40322</c:v>
                </c:pt>
                <c:pt idx="2808">
                  <c:v>40323</c:v>
                </c:pt>
                <c:pt idx="2809">
                  <c:v>40324</c:v>
                </c:pt>
                <c:pt idx="2810">
                  <c:v>40325</c:v>
                </c:pt>
                <c:pt idx="2811">
                  <c:v>40326</c:v>
                </c:pt>
                <c:pt idx="2812">
                  <c:v>40329</c:v>
                </c:pt>
                <c:pt idx="2813">
                  <c:v>40330</c:v>
                </c:pt>
                <c:pt idx="2814">
                  <c:v>40331</c:v>
                </c:pt>
                <c:pt idx="2815">
                  <c:v>40332</c:v>
                </c:pt>
                <c:pt idx="2816">
                  <c:v>40333</c:v>
                </c:pt>
                <c:pt idx="2817">
                  <c:v>40336</c:v>
                </c:pt>
                <c:pt idx="2818">
                  <c:v>40337</c:v>
                </c:pt>
                <c:pt idx="2819">
                  <c:v>40338</c:v>
                </c:pt>
                <c:pt idx="2820">
                  <c:v>40339</c:v>
                </c:pt>
                <c:pt idx="2821">
                  <c:v>40340</c:v>
                </c:pt>
                <c:pt idx="2822">
                  <c:v>40343</c:v>
                </c:pt>
                <c:pt idx="2823">
                  <c:v>40344</c:v>
                </c:pt>
                <c:pt idx="2824">
                  <c:v>40345</c:v>
                </c:pt>
                <c:pt idx="2825">
                  <c:v>40346</c:v>
                </c:pt>
                <c:pt idx="2826">
                  <c:v>40347</c:v>
                </c:pt>
                <c:pt idx="2827">
                  <c:v>40350</c:v>
                </c:pt>
                <c:pt idx="2828">
                  <c:v>40351</c:v>
                </c:pt>
                <c:pt idx="2829">
                  <c:v>40352</c:v>
                </c:pt>
                <c:pt idx="2830">
                  <c:v>40353</c:v>
                </c:pt>
                <c:pt idx="2831">
                  <c:v>40354</c:v>
                </c:pt>
                <c:pt idx="2832">
                  <c:v>40357</c:v>
                </c:pt>
                <c:pt idx="2833">
                  <c:v>40358</c:v>
                </c:pt>
                <c:pt idx="2834">
                  <c:v>40359</c:v>
                </c:pt>
                <c:pt idx="2835">
                  <c:v>40360</c:v>
                </c:pt>
                <c:pt idx="2836">
                  <c:v>40361</c:v>
                </c:pt>
                <c:pt idx="2837">
                  <c:v>40364</c:v>
                </c:pt>
                <c:pt idx="2838">
                  <c:v>40365</c:v>
                </c:pt>
                <c:pt idx="2839">
                  <c:v>40366</c:v>
                </c:pt>
                <c:pt idx="2840">
                  <c:v>40367</c:v>
                </c:pt>
                <c:pt idx="2841">
                  <c:v>40368</c:v>
                </c:pt>
                <c:pt idx="2842">
                  <c:v>40371</c:v>
                </c:pt>
                <c:pt idx="2843">
                  <c:v>40372</c:v>
                </c:pt>
                <c:pt idx="2844">
                  <c:v>40373</c:v>
                </c:pt>
                <c:pt idx="2845">
                  <c:v>40374</c:v>
                </c:pt>
                <c:pt idx="2846">
                  <c:v>40375</c:v>
                </c:pt>
                <c:pt idx="2847">
                  <c:v>40378</c:v>
                </c:pt>
                <c:pt idx="2848">
                  <c:v>40379</c:v>
                </c:pt>
                <c:pt idx="2849">
                  <c:v>40380</c:v>
                </c:pt>
                <c:pt idx="2850">
                  <c:v>40381</c:v>
                </c:pt>
                <c:pt idx="2851">
                  <c:v>40382</c:v>
                </c:pt>
                <c:pt idx="2852">
                  <c:v>40385</c:v>
                </c:pt>
                <c:pt idx="2853">
                  <c:v>40386</c:v>
                </c:pt>
                <c:pt idx="2854">
                  <c:v>40387</c:v>
                </c:pt>
                <c:pt idx="2855">
                  <c:v>40388</c:v>
                </c:pt>
                <c:pt idx="2856">
                  <c:v>40389</c:v>
                </c:pt>
                <c:pt idx="2857">
                  <c:v>40392</c:v>
                </c:pt>
                <c:pt idx="2858">
                  <c:v>40393</c:v>
                </c:pt>
                <c:pt idx="2859">
                  <c:v>40394</c:v>
                </c:pt>
                <c:pt idx="2860">
                  <c:v>40395</c:v>
                </c:pt>
                <c:pt idx="2861">
                  <c:v>40396</c:v>
                </c:pt>
                <c:pt idx="2862">
                  <c:v>40399</c:v>
                </c:pt>
                <c:pt idx="2863">
                  <c:v>40400</c:v>
                </c:pt>
                <c:pt idx="2864">
                  <c:v>40401</c:v>
                </c:pt>
                <c:pt idx="2865">
                  <c:v>40402</c:v>
                </c:pt>
                <c:pt idx="2866">
                  <c:v>40403</c:v>
                </c:pt>
                <c:pt idx="2867">
                  <c:v>40406</c:v>
                </c:pt>
                <c:pt idx="2868">
                  <c:v>40407</c:v>
                </c:pt>
                <c:pt idx="2869">
                  <c:v>40408</c:v>
                </c:pt>
                <c:pt idx="2870">
                  <c:v>40409</c:v>
                </c:pt>
                <c:pt idx="2871">
                  <c:v>40410</c:v>
                </c:pt>
                <c:pt idx="2872">
                  <c:v>40413</c:v>
                </c:pt>
                <c:pt idx="2873">
                  <c:v>40414</c:v>
                </c:pt>
                <c:pt idx="2874">
                  <c:v>40415</c:v>
                </c:pt>
                <c:pt idx="2875">
                  <c:v>40416</c:v>
                </c:pt>
                <c:pt idx="2876">
                  <c:v>40417</c:v>
                </c:pt>
                <c:pt idx="2877">
                  <c:v>40420</c:v>
                </c:pt>
                <c:pt idx="2878">
                  <c:v>40421</c:v>
                </c:pt>
                <c:pt idx="2879">
                  <c:v>40422</c:v>
                </c:pt>
                <c:pt idx="2880">
                  <c:v>40423</c:v>
                </c:pt>
                <c:pt idx="2881">
                  <c:v>40424</c:v>
                </c:pt>
                <c:pt idx="2882">
                  <c:v>40427</c:v>
                </c:pt>
                <c:pt idx="2883">
                  <c:v>40428</c:v>
                </c:pt>
                <c:pt idx="2884">
                  <c:v>40429</c:v>
                </c:pt>
                <c:pt idx="2885">
                  <c:v>40430</c:v>
                </c:pt>
                <c:pt idx="2886">
                  <c:v>40431</c:v>
                </c:pt>
                <c:pt idx="2887">
                  <c:v>40434</c:v>
                </c:pt>
                <c:pt idx="2888">
                  <c:v>40435</c:v>
                </c:pt>
                <c:pt idx="2889">
                  <c:v>40436</c:v>
                </c:pt>
                <c:pt idx="2890">
                  <c:v>40437</c:v>
                </c:pt>
                <c:pt idx="2891">
                  <c:v>40438</c:v>
                </c:pt>
                <c:pt idx="2892">
                  <c:v>40441</c:v>
                </c:pt>
                <c:pt idx="2893">
                  <c:v>40442</c:v>
                </c:pt>
                <c:pt idx="2894">
                  <c:v>40443</c:v>
                </c:pt>
                <c:pt idx="2895">
                  <c:v>40444</c:v>
                </c:pt>
                <c:pt idx="2896">
                  <c:v>40445</c:v>
                </c:pt>
                <c:pt idx="2897">
                  <c:v>40448</c:v>
                </c:pt>
                <c:pt idx="2898">
                  <c:v>40449</c:v>
                </c:pt>
                <c:pt idx="2899">
                  <c:v>40450</c:v>
                </c:pt>
                <c:pt idx="2900">
                  <c:v>40451</c:v>
                </c:pt>
                <c:pt idx="2901">
                  <c:v>40452</c:v>
                </c:pt>
                <c:pt idx="2902">
                  <c:v>40455</c:v>
                </c:pt>
                <c:pt idx="2903">
                  <c:v>40456</c:v>
                </c:pt>
                <c:pt idx="2904">
                  <c:v>40457</c:v>
                </c:pt>
                <c:pt idx="2905">
                  <c:v>40458</c:v>
                </c:pt>
                <c:pt idx="2906">
                  <c:v>40459</c:v>
                </c:pt>
                <c:pt idx="2907">
                  <c:v>40462</c:v>
                </c:pt>
                <c:pt idx="2908">
                  <c:v>40463</c:v>
                </c:pt>
                <c:pt idx="2909">
                  <c:v>40464</c:v>
                </c:pt>
                <c:pt idx="2910">
                  <c:v>40465</c:v>
                </c:pt>
                <c:pt idx="2911">
                  <c:v>40466</c:v>
                </c:pt>
                <c:pt idx="2912">
                  <c:v>40469</c:v>
                </c:pt>
                <c:pt idx="2913">
                  <c:v>40470</c:v>
                </c:pt>
                <c:pt idx="2914">
                  <c:v>40471</c:v>
                </c:pt>
                <c:pt idx="2915">
                  <c:v>40472</c:v>
                </c:pt>
                <c:pt idx="2916">
                  <c:v>40473</c:v>
                </c:pt>
                <c:pt idx="2917">
                  <c:v>40476</c:v>
                </c:pt>
                <c:pt idx="2918">
                  <c:v>40477</c:v>
                </c:pt>
                <c:pt idx="2919">
                  <c:v>40478</c:v>
                </c:pt>
                <c:pt idx="2920">
                  <c:v>40479</c:v>
                </c:pt>
                <c:pt idx="2921">
                  <c:v>40480</c:v>
                </c:pt>
                <c:pt idx="2922">
                  <c:v>40483</c:v>
                </c:pt>
                <c:pt idx="2923">
                  <c:v>40484</c:v>
                </c:pt>
                <c:pt idx="2924">
                  <c:v>40485</c:v>
                </c:pt>
                <c:pt idx="2925">
                  <c:v>40486</c:v>
                </c:pt>
                <c:pt idx="2926">
                  <c:v>40487</c:v>
                </c:pt>
                <c:pt idx="2927">
                  <c:v>40490</c:v>
                </c:pt>
                <c:pt idx="2928">
                  <c:v>40491</c:v>
                </c:pt>
                <c:pt idx="2929">
                  <c:v>40492</c:v>
                </c:pt>
                <c:pt idx="2930">
                  <c:v>40493</c:v>
                </c:pt>
                <c:pt idx="2931">
                  <c:v>40494</c:v>
                </c:pt>
                <c:pt idx="2932">
                  <c:v>40497</c:v>
                </c:pt>
                <c:pt idx="2933">
                  <c:v>40498</c:v>
                </c:pt>
                <c:pt idx="2934">
                  <c:v>40499</c:v>
                </c:pt>
                <c:pt idx="2935">
                  <c:v>40500</c:v>
                </c:pt>
                <c:pt idx="2936">
                  <c:v>40501</c:v>
                </c:pt>
                <c:pt idx="2937">
                  <c:v>40504</c:v>
                </c:pt>
                <c:pt idx="2938">
                  <c:v>40505</c:v>
                </c:pt>
                <c:pt idx="2939">
                  <c:v>40506</c:v>
                </c:pt>
                <c:pt idx="2940">
                  <c:v>40507</c:v>
                </c:pt>
                <c:pt idx="2941">
                  <c:v>40508</c:v>
                </c:pt>
                <c:pt idx="2942">
                  <c:v>40511</c:v>
                </c:pt>
                <c:pt idx="2943">
                  <c:v>40512</c:v>
                </c:pt>
                <c:pt idx="2944">
                  <c:v>40513</c:v>
                </c:pt>
                <c:pt idx="2945">
                  <c:v>40514</c:v>
                </c:pt>
                <c:pt idx="2946">
                  <c:v>40515</c:v>
                </c:pt>
                <c:pt idx="2947">
                  <c:v>40518</c:v>
                </c:pt>
                <c:pt idx="2948">
                  <c:v>40519</c:v>
                </c:pt>
                <c:pt idx="2949">
                  <c:v>40520</c:v>
                </c:pt>
                <c:pt idx="2950">
                  <c:v>40521</c:v>
                </c:pt>
                <c:pt idx="2951">
                  <c:v>40522</c:v>
                </c:pt>
                <c:pt idx="2952">
                  <c:v>40525</c:v>
                </c:pt>
                <c:pt idx="2953">
                  <c:v>40526</c:v>
                </c:pt>
                <c:pt idx="2954">
                  <c:v>40527</c:v>
                </c:pt>
                <c:pt idx="2955">
                  <c:v>40528</c:v>
                </c:pt>
                <c:pt idx="2956">
                  <c:v>40529</c:v>
                </c:pt>
                <c:pt idx="2957">
                  <c:v>40532</c:v>
                </c:pt>
                <c:pt idx="2958">
                  <c:v>40533</c:v>
                </c:pt>
                <c:pt idx="2959">
                  <c:v>40534</c:v>
                </c:pt>
                <c:pt idx="2960">
                  <c:v>40535</c:v>
                </c:pt>
                <c:pt idx="2961">
                  <c:v>40536</c:v>
                </c:pt>
                <c:pt idx="2962">
                  <c:v>40539</c:v>
                </c:pt>
                <c:pt idx="2963">
                  <c:v>40540</c:v>
                </c:pt>
                <c:pt idx="2964">
                  <c:v>40541</c:v>
                </c:pt>
                <c:pt idx="2965">
                  <c:v>40542</c:v>
                </c:pt>
                <c:pt idx="2966">
                  <c:v>40543</c:v>
                </c:pt>
                <c:pt idx="2967">
                  <c:v>40546</c:v>
                </c:pt>
                <c:pt idx="2968">
                  <c:v>40547</c:v>
                </c:pt>
                <c:pt idx="2969">
                  <c:v>40548</c:v>
                </c:pt>
                <c:pt idx="2970">
                  <c:v>40549</c:v>
                </c:pt>
                <c:pt idx="2971">
                  <c:v>40550</c:v>
                </c:pt>
                <c:pt idx="2972">
                  <c:v>40553</c:v>
                </c:pt>
                <c:pt idx="2973">
                  <c:v>40554</c:v>
                </c:pt>
                <c:pt idx="2974">
                  <c:v>40555</c:v>
                </c:pt>
                <c:pt idx="2975">
                  <c:v>40556</c:v>
                </c:pt>
                <c:pt idx="2976">
                  <c:v>40557</c:v>
                </c:pt>
                <c:pt idx="2977">
                  <c:v>40560</c:v>
                </c:pt>
                <c:pt idx="2978">
                  <c:v>40561</c:v>
                </c:pt>
                <c:pt idx="2979">
                  <c:v>40562</c:v>
                </c:pt>
                <c:pt idx="2980">
                  <c:v>40563</c:v>
                </c:pt>
                <c:pt idx="2981">
                  <c:v>40564</c:v>
                </c:pt>
                <c:pt idx="2982">
                  <c:v>40567</c:v>
                </c:pt>
                <c:pt idx="2983">
                  <c:v>40568</c:v>
                </c:pt>
                <c:pt idx="2984">
                  <c:v>40569</c:v>
                </c:pt>
                <c:pt idx="2985">
                  <c:v>40570</c:v>
                </c:pt>
                <c:pt idx="2986">
                  <c:v>40571</c:v>
                </c:pt>
                <c:pt idx="2987">
                  <c:v>40574</c:v>
                </c:pt>
                <c:pt idx="2988">
                  <c:v>40575</c:v>
                </c:pt>
                <c:pt idx="2989">
                  <c:v>40576</c:v>
                </c:pt>
                <c:pt idx="2990">
                  <c:v>40577</c:v>
                </c:pt>
                <c:pt idx="2991">
                  <c:v>40578</c:v>
                </c:pt>
                <c:pt idx="2992">
                  <c:v>40581</c:v>
                </c:pt>
                <c:pt idx="2993">
                  <c:v>40582</c:v>
                </c:pt>
                <c:pt idx="2994">
                  <c:v>40583</c:v>
                </c:pt>
                <c:pt idx="2995">
                  <c:v>40584</c:v>
                </c:pt>
                <c:pt idx="2996">
                  <c:v>40585</c:v>
                </c:pt>
                <c:pt idx="2997">
                  <c:v>40588</c:v>
                </c:pt>
                <c:pt idx="2998">
                  <c:v>40589</c:v>
                </c:pt>
                <c:pt idx="2999">
                  <c:v>40590</c:v>
                </c:pt>
                <c:pt idx="3000">
                  <c:v>40591</c:v>
                </c:pt>
                <c:pt idx="3001">
                  <c:v>40592</c:v>
                </c:pt>
                <c:pt idx="3002">
                  <c:v>40595</c:v>
                </c:pt>
                <c:pt idx="3003">
                  <c:v>40596</c:v>
                </c:pt>
                <c:pt idx="3004">
                  <c:v>40597</c:v>
                </c:pt>
                <c:pt idx="3005">
                  <c:v>40598</c:v>
                </c:pt>
                <c:pt idx="3006">
                  <c:v>40599</c:v>
                </c:pt>
                <c:pt idx="3007">
                  <c:v>40602</c:v>
                </c:pt>
                <c:pt idx="3008">
                  <c:v>40603</c:v>
                </c:pt>
                <c:pt idx="3009">
                  <c:v>40604</c:v>
                </c:pt>
                <c:pt idx="3010">
                  <c:v>40605</c:v>
                </c:pt>
                <c:pt idx="3011">
                  <c:v>40606</c:v>
                </c:pt>
                <c:pt idx="3012">
                  <c:v>40609</c:v>
                </c:pt>
                <c:pt idx="3013">
                  <c:v>40610</c:v>
                </c:pt>
                <c:pt idx="3014">
                  <c:v>40611</c:v>
                </c:pt>
                <c:pt idx="3015">
                  <c:v>40612</c:v>
                </c:pt>
                <c:pt idx="3016">
                  <c:v>40613</c:v>
                </c:pt>
                <c:pt idx="3017">
                  <c:v>40616</c:v>
                </c:pt>
                <c:pt idx="3018">
                  <c:v>40617</c:v>
                </c:pt>
                <c:pt idx="3019">
                  <c:v>40618</c:v>
                </c:pt>
                <c:pt idx="3020">
                  <c:v>40619</c:v>
                </c:pt>
                <c:pt idx="3021">
                  <c:v>40620</c:v>
                </c:pt>
                <c:pt idx="3022">
                  <c:v>40623</c:v>
                </c:pt>
                <c:pt idx="3023">
                  <c:v>40624</c:v>
                </c:pt>
                <c:pt idx="3024">
                  <c:v>40625</c:v>
                </c:pt>
                <c:pt idx="3025">
                  <c:v>40626</c:v>
                </c:pt>
                <c:pt idx="3026">
                  <c:v>40627</c:v>
                </c:pt>
                <c:pt idx="3027">
                  <c:v>40630</c:v>
                </c:pt>
                <c:pt idx="3028">
                  <c:v>40631</c:v>
                </c:pt>
                <c:pt idx="3029">
                  <c:v>40632</c:v>
                </c:pt>
                <c:pt idx="3030">
                  <c:v>40633</c:v>
                </c:pt>
                <c:pt idx="3031">
                  <c:v>40634</c:v>
                </c:pt>
                <c:pt idx="3032">
                  <c:v>40637</c:v>
                </c:pt>
                <c:pt idx="3033">
                  <c:v>40638</c:v>
                </c:pt>
                <c:pt idx="3034">
                  <c:v>40639</c:v>
                </c:pt>
                <c:pt idx="3035">
                  <c:v>40640</c:v>
                </c:pt>
                <c:pt idx="3036">
                  <c:v>40641</c:v>
                </c:pt>
                <c:pt idx="3037">
                  <c:v>40644</c:v>
                </c:pt>
                <c:pt idx="3038">
                  <c:v>40645</c:v>
                </c:pt>
                <c:pt idx="3039">
                  <c:v>40646</c:v>
                </c:pt>
                <c:pt idx="3040">
                  <c:v>40647</c:v>
                </c:pt>
                <c:pt idx="3041">
                  <c:v>40648</c:v>
                </c:pt>
                <c:pt idx="3042">
                  <c:v>40651</c:v>
                </c:pt>
                <c:pt idx="3043">
                  <c:v>40652</c:v>
                </c:pt>
                <c:pt idx="3044">
                  <c:v>40653</c:v>
                </c:pt>
                <c:pt idx="3045">
                  <c:v>40654</c:v>
                </c:pt>
                <c:pt idx="3046">
                  <c:v>40655</c:v>
                </c:pt>
                <c:pt idx="3047">
                  <c:v>40658</c:v>
                </c:pt>
                <c:pt idx="3048">
                  <c:v>40659</c:v>
                </c:pt>
                <c:pt idx="3049">
                  <c:v>40660</c:v>
                </c:pt>
                <c:pt idx="3050">
                  <c:v>40661</c:v>
                </c:pt>
                <c:pt idx="3051">
                  <c:v>40662</c:v>
                </c:pt>
                <c:pt idx="3052">
                  <c:v>40665</c:v>
                </c:pt>
                <c:pt idx="3053">
                  <c:v>40666</c:v>
                </c:pt>
                <c:pt idx="3054">
                  <c:v>40667</c:v>
                </c:pt>
                <c:pt idx="3055">
                  <c:v>40668</c:v>
                </c:pt>
                <c:pt idx="3056">
                  <c:v>40669</c:v>
                </c:pt>
                <c:pt idx="3057">
                  <c:v>40672</c:v>
                </c:pt>
                <c:pt idx="3058">
                  <c:v>40673</c:v>
                </c:pt>
                <c:pt idx="3059">
                  <c:v>40674</c:v>
                </c:pt>
                <c:pt idx="3060">
                  <c:v>40675</c:v>
                </c:pt>
                <c:pt idx="3061">
                  <c:v>40676</c:v>
                </c:pt>
                <c:pt idx="3062">
                  <c:v>40679</c:v>
                </c:pt>
                <c:pt idx="3063">
                  <c:v>40680</c:v>
                </c:pt>
                <c:pt idx="3064">
                  <c:v>40681</c:v>
                </c:pt>
                <c:pt idx="3065">
                  <c:v>40682</c:v>
                </c:pt>
                <c:pt idx="3066">
                  <c:v>40683</c:v>
                </c:pt>
                <c:pt idx="3067">
                  <c:v>40686</c:v>
                </c:pt>
                <c:pt idx="3068">
                  <c:v>40687</c:v>
                </c:pt>
                <c:pt idx="3069">
                  <c:v>40688</c:v>
                </c:pt>
                <c:pt idx="3070">
                  <c:v>40689</c:v>
                </c:pt>
                <c:pt idx="3071">
                  <c:v>40690</c:v>
                </c:pt>
                <c:pt idx="3072">
                  <c:v>40693</c:v>
                </c:pt>
                <c:pt idx="3073">
                  <c:v>40694</c:v>
                </c:pt>
                <c:pt idx="3074">
                  <c:v>40695</c:v>
                </c:pt>
                <c:pt idx="3075">
                  <c:v>40696</c:v>
                </c:pt>
                <c:pt idx="3076">
                  <c:v>40697</c:v>
                </c:pt>
                <c:pt idx="3077">
                  <c:v>40700</c:v>
                </c:pt>
                <c:pt idx="3078">
                  <c:v>40701</c:v>
                </c:pt>
                <c:pt idx="3079">
                  <c:v>40702</c:v>
                </c:pt>
                <c:pt idx="3080">
                  <c:v>40703</c:v>
                </c:pt>
                <c:pt idx="3081">
                  <c:v>40704</c:v>
                </c:pt>
                <c:pt idx="3082">
                  <c:v>40707</c:v>
                </c:pt>
                <c:pt idx="3083">
                  <c:v>40708</c:v>
                </c:pt>
                <c:pt idx="3084">
                  <c:v>40709</c:v>
                </c:pt>
                <c:pt idx="3085">
                  <c:v>40710</c:v>
                </c:pt>
                <c:pt idx="3086">
                  <c:v>40711</c:v>
                </c:pt>
                <c:pt idx="3087">
                  <c:v>40714</c:v>
                </c:pt>
                <c:pt idx="3088">
                  <c:v>40715</c:v>
                </c:pt>
                <c:pt idx="3089">
                  <c:v>40716</c:v>
                </c:pt>
                <c:pt idx="3090">
                  <c:v>40717</c:v>
                </c:pt>
                <c:pt idx="3091">
                  <c:v>40718</c:v>
                </c:pt>
                <c:pt idx="3092">
                  <c:v>40721</c:v>
                </c:pt>
                <c:pt idx="3093">
                  <c:v>40722</c:v>
                </c:pt>
                <c:pt idx="3094">
                  <c:v>40723</c:v>
                </c:pt>
                <c:pt idx="3095">
                  <c:v>40724</c:v>
                </c:pt>
                <c:pt idx="3096">
                  <c:v>40725</c:v>
                </c:pt>
                <c:pt idx="3097">
                  <c:v>40728</c:v>
                </c:pt>
                <c:pt idx="3098">
                  <c:v>40729</c:v>
                </c:pt>
                <c:pt idx="3099">
                  <c:v>40730</c:v>
                </c:pt>
                <c:pt idx="3100">
                  <c:v>40731</c:v>
                </c:pt>
                <c:pt idx="3101">
                  <c:v>40732</c:v>
                </c:pt>
                <c:pt idx="3102">
                  <c:v>40735</c:v>
                </c:pt>
                <c:pt idx="3103">
                  <c:v>40736</c:v>
                </c:pt>
                <c:pt idx="3104">
                  <c:v>40737</c:v>
                </c:pt>
                <c:pt idx="3105">
                  <c:v>40738</c:v>
                </c:pt>
                <c:pt idx="3106">
                  <c:v>40739</c:v>
                </c:pt>
                <c:pt idx="3107">
                  <c:v>40742</c:v>
                </c:pt>
                <c:pt idx="3108">
                  <c:v>40743</c:v>
                </c:pt>
                <c:pt idx="3109">
                  <c:v>40744</c:v>
                </c:pt>
                <c:pt idx="3110">
                  <c:v>40745</c:v>
                </c:pt>
                <c:pt idx="3111">
                  <c:v>40746</c:v>
                </c:pt>
                <c:pt idx="3112">
                  <c:v>40749</c:v>
                </c:pt>
                <c:pt idx="3113">
                  <c:v>40750</c:v>
                </c:pt>
                <c:pt idx="3114">
                  <c:v>40751</c:v>
                </c:pt>
                <c:pt idx="3115">
                  <c:v>40752</c:v>
                </c:pt>
                <c:pt idx="3116">
                  <c:v>40753</c:v>
                </c:pt>
                <c:pt idx="3117">
                  <c:v>40756</c:v>
                </c:pt>
                <c:pt idx="3118">
                  <c:v>40757</c:v>
                </c:pt>
                <c:pt idx="3119">
                  <c:v>40758</c:v>
                </c:pt>
                <c:pt idx="3120">
                  <c:v>40759</c:v>
                </c:pt>
                <c:pt idx="3121">
                  <c:v>40760</c:v>
                </c:pt>
                <c:pt idx="3122">
                  <c:v>40763</c:v>
                </c:pt>
                <c:pt idx="3123">
                  <c:v>40764</c:v>
                </c:pt>
                <c:pt idx="3124">
                  <c:v>40765</c:v>
                </c:pt>
                <c:pt idx="3125">
                  <c:v>40766</c:v>
                </c:pt>
                <c:pt idx="3126">
                  <c:v>40767</c:v>
                </c:pt>
                <c:pt idx="3127">
                  <c:v>40770</c:v>
                </c:pt>
                <c:pt idx="3128">
                  <c:v>40771</c:v>
                </c:pt>
                <c:pt idx="3129">
                  <c:v>40772</c:v>
                </c:pt>
                <c:pt idx="3130">
                  <c:v>40773</c:v>
                </c:pt>
                <c:pt idx="3131">
                  <c:v>40774</c:v>
                </c:pt>
                <c:pt idx="3132">
                  <c:v>40777</c:v>
                </c:pt>
                <c:pt idx="3133">
                  <c:v>40778</c:v>
                </c:pt>
                <c:pt idx="3134">
                  <c:v>40779</c:v>
                </c:pt>
                <c:pt idx="3135">
                  <c:v>40780</c:v>
                </c:pt>
                <c:pt idx="3136">
                  <c:v>40781</c:v>
                </c:pt>
                <c:pt idx="3137">
                  <c:v>40784</c:v>
                </c:pt>
                <c:pt idx="3138">
                  <c:v>40785</c:v>
                </c:pt>
                <c:pt idx="3139">
                  <c:v>40786</c:v>
                </c:pt>
                <c:pt idx="3140">
                  <c:v>40787</c:v>
                </c:pt>
                <c:pt idx="3141">
                  <c:v>40788</c:v>
                </c:pt>
                <c:pt idx="3142">
                  <c:v>40791</c:v>
                </c:pt>
                <c:pt idx="3143">
                  <c:v>40792</c:v>
                </c:pt>
                <c:pt idx="3144">
                  <c:v>40793</c:v>
                </c:pt>
                <c:pt idx="3145">
                  <c:v>40794</c:v>
                </c:pt>
                <c:pt idx="3146">
                  <c:v>40795</c:v>
                </c:pt>
                <c:pt idx="3147">
                  <c:v>40798</c:v>
                </c:pt>
                <c:pt idx="3148">
                  <c:v>40799</c:v>
                </c:pt>
                <c:pt idx="3149">
                  <c:v>40800</c:v>
                </c:pt>
                <c:pt idx="3150">
                  <c:v>40801</c:v>
                </c:pt>
                <c:pt idx="3151">
                  <c:v>40802</c:v>
                </c:pt>
                <c:pt idx="3152">
                  <c:v>40805</c:v>
                </c:pt>
                <c:pt idx="3153">
                  <c:v>40806</c:v>
                </c:pt>
                <c:pt idx="3154">
                  <c:v>40807</c:v>
                </c:pt>
                <c:pt idx="3155">
                  <c:v>40808</c:v>
                </c:pt>
                <c:pt idx="3156">
                  <c:v>40809</c:v>
                </c:pt>
                <c:pt idx="3157">
                  <c:v>40812</c:v>
                </c:pt>
                <c:pt idx="3158">
                  <c:v>40813</c:v>
                </c:pt>
                <c:pt idx="3159">
                  <c:v>40814</c:v>
                </c:pt>
                <c:pt idx="3160">
                  <c:v>40815</c:v>
                </c:pt>
                <c:pt idx="3161">
                  <c:v>40816</c:v>
                </c:pt>
                <c:pt idx="3162">
                  <c:v>40819</c:v>
                </c:pt>
                <c:pt idx="3163">
                  <c:v>40820</c:v>
                </c:pt>
                <c:pt idx="3164">
                  <c:v>40821</c:v>
                </c:pt>
                <c:pt idx="3165">
                  <c:v>40822</c:v>
                </c:pt>
                <c:pt idx="3166">
                  <c:v>40823</c:v>
                </c:pt>
                <c:pt idx="3167">
                  <c:v>40826</c:v>
                </c:pt>
                <c:pt idx="3168">
                  <c:v>40827</c:v>
                </c:pt>
                <c:pt idx="3169">
                  <c:v>40828</c:v>
                </c:pt>
                <c:pt idx="3170">
                  <c:v>40829</c:v>
                </c:pt>
                <c:pt idx="3171">
                  <c:v>40830</c:v>
                </c:pt>
                <c:pt idx="3172">
                  <c:v>40833</c:v>
                </c:pt>
                <c:pt idx="3173">
                  <c:v>40834</c:v>
                </c:pt>
                <c:pt idx="3174">
                  <c:v>40835</c:v>
                </c:pt>
                <c:pt idx="3175">
                  <c:v>40836</c:v>
                </c:pt>
                <c:pt idx="3176">
                  <c:v>40837</c:v>
                </c:pt>
                <c:pt idx="3177">
                  <c:v>40840</c:v>
                </c:pt>
                <c:pt idx="3178">
                  <c:v>40841</c:v>
                </c:pt>
                <c:pt idx="3179">
                  <c:v>40842</c:v>
                </c:pt>
                <c:pt idx="3180">
                  <c:v>40843</c:v>
                </c:pt>
                <c:pt idx="3181">
                  <c:v>40844</c:v>
                </c:pt>
                <c:pt idx="3182">
                  <c:v>40847</c:v>
                </c:pt>
                <c:pt idx="3183">
                  <c:v>40848</c:v>
                </c:pt>
                <c:pt idx="3184">
                  <c:v>40849</c:v>
                </c:pt>
                <c:pt idx="3185">
                  <c:v>40850</c:v>
                </c:pt>
                <c:pt idx="3186">
                  <c:v>40851</c:v>
                </c:pt>
                <c:pt idx="3187">
                  <c:v>40854</c:v>
                </c:pt>
                <c:pt idx="3188">
                  <c:v>40855</c:v>
                </c:pt>
                <c:pt idx="3189">
                  <c:v>40856</c:v>
                </c:pt>
                <c:pt idx="3190">
                  <c:v>40857</c:v>
                </c:pt>
                <c:pt idx="3191">
                  <c:v>40858</c:v>
                </c:pt>
                <c:pt idx="3192">
                  <c:v>40861</c:v>
                </c:pt>
                <c:pt idx="3193">
                  <c:v>40862</c:v>
                </c:pt>
                <c:pt idx="3194">
                  <c:v>40863</c:v>
                </c:pt>
                <c:pt idx="3195">
                  <c:v>40864</c:v>
                </c:pt>
                <c:pt idx="3196">
                  <c:v>40865</c:v>
                </c:pt>
                <c:pt idx="3197">
                  <c:v>40868</c:v>
                </c:pt>
                <c:pt idx="3198">
                  <c:v>40869</c:v>
                </c:pt>
                <c:pt idx="3199">
                  <c:v>40870</c:v>
                </c:pt>
                <c:pt idx="3200">
                  <c:v>40871</c:v>
                </c:pt>
                <c:pt idx="3201">
                  <c:v>40872</c:v>
                </c:pt>
                <c:pt idx="3202">
                  <c:v>40875</c:v>
                </c:pt>
                <c:pt idx="3203">
                  <c:v>40876</c:v>
                </c:pt>
                <c:pt idx="3204">
                  <c:v>40877</c:v>
                </c:pt>
                <c:pt idx="3205">
                  <c:v>40878</c:v>
                </c:pt>
                <c:pt idx="3206">
                  <c:v>40879</c:v>
                </c:pt>
                <c:pt idx="3207">
                  <c:v>40882</c:v>
                </c:pt>
                <c:pt idx="3208">
                  <c:v>40883</c:v>
                </c:pt>
                <c:pt idx="3209">
                  <c:v>40884</c:v>
                </c:pt>
                <c:pt idx="3210">
                  <c:v>40885</c:v>
                </c:pt>
                <c:pt idx="3211">
                  <c:v>40886</c:v>
                </c:pt>
                <c:pt idx="3212">
                  <c:v>40889</c:v>
                </c:pt>
                <c:pt idx="3213">
                  <c:v>40890</c:v>
                </c:pt>
                <c:pt idx="3214">
                  <c:v>40891</c:v>
                </c:pt>
                <c:pt idx="3215">
                  <c:v>40892</c:v>
                </c:pt>
                <c:pt idx="3216">
                  <c:v>40893</c:v>
                </c:pt>
                <c:pt idx="3217">
                  <c:v>40896</c:v>
                </c:pt>
                <c:pt idx="3218">
                  <c:v>40897</c:v>
                </c:pt>
                <c:pt idx="3219">
                  <c:v>40898</c:v>
                </c:pt>
                <c:pt idx="3220">
                  <c:v>40899</c:v>
                </c:pt>
                <c:pt idx="3221">
                  <c:v>40900</c:v>
                </c:pt>
                <c:pt idx="3222">
                  <c:v>40903</c:v>
                </c:pt>
                <c:pt idx="3223">
                  <c:v>40904</c:v>
                </c:pt>
                <c:pt idx="3224">
                  <c:v>40905</c:v>
                </c:pt>
                <c:pt idx="3225">
                  <c:v>40906</c:v>
                </c:pt>
                <c:pt idx="3226">
                  <c:v>40907</c:v>
                </c:pt>
                <c:pt idx="3227">
                  <c:v>40910</c:v>
                </c:pt>
                <c:pt idx="3228">
                  <c:v>40911</c:v>
                </c:pt>
                <c:pt idx="3229">
                  <c:v>40912</c:v>
                </c:pt>
                <c:pt idx="3230">
                  <c:v>40913</c:v>
                </c:pt>
                <c:pt idx="3231">
                  <c:v>40914</c:v>
                </c:pt>
                <c:pt idx="3232">
                  <c:v>40917</c:v>
                </c:pt>
                <c:pt idx="3233">
                  <c:v>40918</c:v>
                </c:pt>
                <c:pt idx="3234">
                  <c:v>40919</c:v>
                </c:pt>
                <c:pt idx="3235">
                  <c:v>40920</c:v>
                </c:pt>
                <c:pt idx="3236">
                  <c:v>40921</c:v>
                </c:pt>
                <c:pt idx="3237">
                  <c:v>40924</c:v>
                </c:pt>
                <c:pt idx="3238">
                  <c:v>40925</c:v>
                </c:pt>
                <c:pt idx="3239">
                  <c:v>40926</c:v>
                </c:pt>
                <c:pt idx="3240">
                  <c:v>40927</c:v>
                </c:pt>
                <c:pt idx="3241">
                  <c:v>40928</c:v>
                </c:pt>
                <c:pt idx="3242">
                  <c:v>40931</c:v>
                </c:pt>
                <c:pt idx="3243">
                  <c:v>40932</c:v>
                </c:pt>
                <c:pt idx="3244">
                  <c:v>40933</c:v>
                </c:pt>
                <c:pt idx="3245">
                  <c:v>40934</c:v>
                </c:pt>
                <c:pt idx="3246">
                  <c:v>40935</c:v>
                </c:pt>
                <c:pt idx="3247">
                  <c:v>40938</c:v>
                </c:pt>
                <c:pt idx="3248">
                  <c:v>40939</c:v>
                </c:pt>
                <c:pt idx="3249">
                  <c:v>40940</c:v>
                </c:pt>
                <c:pt idx="3250">
                  <c:v>40941</c:v>
                </c:pt>
                <c:pt idx="3251">
                  <c:v>40942</c:v>
                </c:pt>
                <c:pt idx="3252">
                  <c:v>40945</c:v>
                </c:pt>
                <c:pt idx="3253">
                  <c:v>40946</c:v>
                </c:pt>
                <c:pt idx="3254">
                  <c:v>40947</c:v>
                </c:pt>
                <c:pt idx="3255">
                  <c:v>40948</c:v>
                </c:pt>
                <c:pt idx="3256">
                  <c:v>40949</c:v>
                </c:pt>
                <c:pt idx="3257">
                  <c:v>40952</c:v>
                </c:pt>
                <c:pt idx="3258">
                  <c:v>40953</c:v>
                </c:pt>
                <c:pt idx="3259">
                  <c:v>40954</c:v>
                </c:pt>
                <c:pt idx="3260">
                  <c:v>40955</c:v>
                </c:pt>
                <c:pt idx="3261">
                  <c:v>40956</c:v>
                </c:pt>
                <c:pt idx="3262">
                  <c:v>40959</c:v>
                </c:pt>
                <c:pt idx="3263">
                  <c:v>40960</c:v>
                </c:pt>
                <c:pt idx="3264">
                  <c:v>40961</c:v>
                </c:pt>
                <c:pt idx="3265">
                  <c:v>40962</c:v>
                </c:pt>
                <c:pt idx="3266">
                  <c:v>40963</c:v>
                </c:pt>
                <c:pt idx="3267">
                  <c:v>40966</c:v>
                </c:pt>
                <c:pt idx="3268">
                  <c:v>40967</c:v>
                </c:pt>
                <c:pt idx="3269">
                  <c:v>40968</c:v>
                </c:pt>
                <c:pt idx="3270">
                  <c:v>40969</c:v>
                </c:pt>
                <c:pt idx="3271">
                  <c:v>40970</c:v>
                </c:pt>
                <c:pt idx="3272">
                  <c:v>40973</c:v>
                </c:pt>
                <c:pt idx="3273">
                  <c:v>40974</c:v>
                </c:pt>
                <c:pt idx="3274">
                  <c:v>40975</c:v>
                </c:pt>
                <c:pt idx="3275">
                  <c:v>40976</c:v>
                </c:pt>
                <c:pt idx="3276">
                  <c:v>40977</c:v>
                </c:pt>
                <c:pt idx="3277">
                  <c:v>40980</c:v>
                </c:pt>
                <c:pt idx="3278">
                  <c:v>40981</c:v>
                </c:pt>
                <c:pt idx="3279">
                  <c:v>40982</c:v>
                </c:pt>
                <c:pt idx="3280">
                  <c:v>40983</c:v>
                </c:pt>
                <c:pt idx="3281">
                  <c:v>40984</c:v>
                </c:pt>
                <c:pt idx="3282">
                  <c:v>40987</c:v>
                </c:pt>
                <c:pt idx="3283">
                  <c:v>40988</c:v>
                </c:pt>
                <c:pt idx="3284">
                  <c:v>40989</c:v>
                </c:pt>
                <c:pt idx="3285">
                  <c:v>40990</c:v>
                </c:pt>
                <c:pt idx="3286">
                  <c:v>40991</c:v>
                </c:pt>
                <c:pt idx="3287">
                  <c:v>40994</c:v>
                </c:pt>
                <c:pt idx="3288">
                  <c:v>40995</c:v>
                </c:pt>
                <c:pt idx="3289">
                  <c:v>40996</c:v>
                </c:pt>
                <c:pt idx="3290">
                  <c:v>40997</c:v>
                </c:pt>
                <c:pt idx="3291">
                  <c:v>40998</c:v>
                </c:pt>
                <c:pt idx="3292">
                  <c:v>41001</c:v>
                </c:pt>
                <c:pt idx="3293">
                  <c:v>41002</c:v>
                </c:pt>
                <c:pt idx="3294">
                  <c:v>41003</c:v>
                </c:pt>
                <c:pt idx="3295">
                  <c:v>41004</c:v>
                </c:pt>
                <c:pt idx="3296">
                  <c:v>41005</c:v>
                </c:pt>
                <c:pt idx="3297">
                  <c:v>41008</c:v>
                </c:pt>
                <c:pt idx="3298">
                  <c:v>41009</c:v>
                </c:pt>
                <c:pt idx="3299">
                  <c:v>41010</c:v>
                </c:pt>
                <c:pt idx="3300">
                  <c:v>41011</c:v>
                </c:pt>
                <c:pt idx="3301">
                  <c:v>41012</c:v>
                </c:pt>
                <c:pt idx="3302">
                  <c:v>41015</c:v>
                </c:pt>
                <c:pt idx="3303">
                  <c:v>41016</c:v>
                </c:pt>
                <c:pt idx="3304">
                  <c:v>41017</c:v>
                </c:pt>
                <c:pt idx="3305">
                  <c:v>41018</c:v>
                </c:pt>
                <c:pt idx="3306">
                  <c:v>41019</c:v>
                </c:pt>
                <c:pt idx="3307">
                  <c:v>41022</c:v>
                </c:pt>
                <c:pt idx="3308">
                  <c:v>41023</c:v>
                </c:pt>
                <c:pt idx="3309">
                  <c:v>41024</c:v>
                </c:pt>
                <c:pt idx="3310">
                  <c:v>41025</c:v>
                </c:pt>
                <c:pt idx="3311">
                  <c:v>41026</c:v>
                </c:pt>
                <c:pt idx="3312">
                  <c:v>41029</c:v>
                </c:pt>
                <c:pt idx="3313">
                  <c:v>41030</c:v>
                </c:pt>
                <c:pt idx="3314">
                  <c:v>41031</c:v>
                </c:pt>
                <c:pt idx="3315">
                  <c:v>41032</c:v>
                </c:pt>
                <c:pt idx="3316">
                  <c:v>41033</c:v>
                </c:pt>
                <c:pt idx="3317">
                  <c:v>41036</c:v>
                </c:pt>
                <c:pt idx="3318">
                  <c:v>41037</c:v>
                </c:pt>
                <c:pt idx="3319">
                  <c:v>41038</c:v>
                </c:pt>
                <c:pt idx="3320">
                  <c:v>41039</c:v>
                </c:pt>
                <c:pt idx="3321">
                  <c:v>41040</c:v>
                </c:pt>
                <c:pt idx="3322">
                  <c:v>41043</c:v>
                </c:pt>
                <c:pt idx="3323">
                  <c:v>41044</c:v>
                </c:pt>
                <c:pt idx="3324">
                  <c:v>41045</c:v>
                </c:pt>
                <c:pt idx="3325">
                  <c:v>41046</c:v>
                </c:pt>
                <c:pt idx="3326">
                  <c:v>41047</c:v>
                </c:pt>
                <c:pt idx="3327">
                  <c:v>41050</c:v>
                </c:pt>
                <c:pt idx="3328">
                  <c:v>41051</c:v>
                </c:pt>
                <c:pt idx="3329">
                  <c:v>41052</c:v>
                </c:pt>
                <c:pt idx="3330">
                  <c:v>41053</c:v>
                </c:pt>
                <c:pt idx="3331">
                  <c:v>41054</c:v>
                </c:pt>
                <c:pt idx="3332">
                  <c:v>41057</c:v>
                </c:pt>
                <c:pt idx="3333">
                  <c:v>41058</c:v>
                </c:pt>
                <c:pt idx="3334">
                  <c:v>41059</c:v>
                </c:pt>
                <c:pt idx="3335">
                  <c:v>41060</c:v>
                </c:pt>
                <c:pt idx="3336">
                  <c:v>41061</c:v>
                </c:pt>
                <c:pt idx="3337">
                  <c:v>41064</c:v>
                </c:pt>
                <c:pt idx="3338">
                  <c:v>41065</c:v>
                </c:pt>
                <c:pt idx="3339">
                  <c:v>41066</c:v>
                </c:pt>
                <c:pt idx="3340">
                  <c:v>41067</c:v>
                </c:pt>
                <c:pt idx="3341">
                  <c:v>41068</c:v>
                </c:pt>
                <c:pt idx="3342">
                  <c:v>41071</c:v>
                </c:pt>
                <c:pt idx="3343">
                  <c:v>41072</c:v>
                </c:pt>
                <c:pt idx="3344">
                  <c:v>41073</c:v>
                </c:pt>
                <c:pt idx="3345">
                  <c:v>41074</c:v>
                </c:pt>
                <c:pt idx="3346">
                  <c:v>41075</c:v>
                </c:pt>
                <c:pt idx="3347">
                  <c:v>41078</c:v>
                </c:pt>
                <c:pt idx="3348">
                  <c:v>41079</c:v>
                </c:pt>
                <c:pt idx="3349">
                  <c:v>41080</c:v>
                </c:pt>
                <c:pt idx="3350">
                  <c:v>41081</c:v>
                </c:pt>
                <c:pt idx="3351">
                  <c:v>41082</c:v>
                </c:pt>
                <c:pt idx="3352">
                  <c:v>41085</c:v>
                </c:pt>
                <c:pt idx="3353">
                  <c:v>41086</c:v>
                </c:pt>
                <c:pt idx="3354">
                  <c:v>41087</c:v>
                </c:pt>
                <c:pt idx="3355">
                  <c:v>41088</c:v>
                </c:pt>
                <c:pt idx="3356">
                  <c:v>41089</c:v>
                </c:pt>
                <c:pt idx="3357">
                  <c:v>41092</c:v>
                </c:pt>
                <c:pt idx="3358">
                  <c:v>41093</c:v>
                </c:pt>
                <c:pt idx="3359">
                  <c:v>41094</c:v>
                </c:pt>
                <c:pt idx="3360">
                  <c:v>41095</c:v>
                </c:pt>
                <c:pt idx="3361">
                  <c:v>41096</c:v>
                </c:pt>
                <c:pt idx="3362">
                  <c:v>41099</c:v>
                </c:pt>
                <c:pt idx="3363">
                  <c:v>41100</c:v>
                </c:pt>
                <c:pt idx="3364">
                  <c:v>41101</c:v>
                </c:pt>
                <c:pt idx="3365">
                  <c:v>41102</c:v>
                </c:pt>
                <c:pt idx="3366">
                  <c:v>41103</c:v>
                </c:pt>
                <c:pt idx="3367">
                  <c:v>41106</c:v>
                </c:pt>
                <c:pt idx="3368">
                  <c:v>41107</c:v>
                </c:pt>
                <c:pt idx="3369">
                  <c:v>41108</c:v>
                </c:pt>
                <c:pt idx="3370">
                  <c:v>41109</c:v>
                </c:pt>
                <c:pt idx="3371">
                  <c:v>41110</c:v>
                </c:pt>
                <c:pt idx="3372">
                  <c:v>41113</c:v>
                </c:pt>
                <c:pt idx="3373">
                  <c:v>41114</c:v>
                </c:pt>
                <c:pt idx="3374">
                  <c:v>41115</c:v>
                </c:pt>
                <c:pt idx="3375">
                  <c:v>41116</c:v>
                </c:pt>
                <c:pt idx="3376">
                  <c:v>41117</c:v>
                </c:pt>
                <c:pt idx="3377">
                  <c:v>41120</c:v>
                </c:pt>
                <c:pt idx="3378">
                  <c:v>41121</c:v>
                </c:pt>
                <c:pt idx="3379">
                  <c:v>41122</c:v>
                </c:pt>
                <c:pt idx="3380">
                  <c:v>41123</c:v>
                </c:pt>
                <c:pt idx="3381">
                  <c:v>41124</c:v>
                </c:pt>
                <c:pt idx="3382">
                  <c:v>41127</c:v>
                </c:pt>
                <c:pt idx="3383">
                  <c:v>41128</c:v>
                </c:pt>
                <c:pt idx="3384">
                  <c:v>41129</c:v>
                </c:pt>
                <c:pt idx="3385">
                  <c:v>41130</c:v>
                </c:pt>
                <c:pt idx="3386">
                  <c:v>41131</c:v>
                </c:pt>
                <c:pt idx="3387">
                  <c:v>41134</c:v>
                </c:pt>
                <c:pt idx="3388">
                  <c:v>41135</c:v>
                </c:pt>
                <c:pt idx="3389">
                  <c:v>41136</c:v>
                </c:pt>
                <c:pt idx="3390">
                  <c:v>41137</c:v>
                </c:pt>
                <c:pt idx="3391">
                  <c:v>41138</c:v>
                </c:pt>
                <c:pt idx="3392">
                  <c:v>41141</c:v>
                </c:pt>
                <c:pt idx="3393">
                  <c:v>41142</c:v>
                </c:pt>
                <c:pt idx="3394">
                  <c:v>41143</c:v>
                </c:pt>
                <c:pt idx="3395">
                  <c:v>41144</c:v>
                </c:pt>
                <c:pt idx="3396">
                  <c:v>41145</c:v>
                </c:pt>
                <c:pt idx="3397">
                  <c:v>41148</c:v>
                </c:pt>
                <c:pt idx="3398">
                  <c:v>41149</c:v>
                </c:pt>
                <c:pt idx="3399">
                  <c:v>41150</c:v>
                </c:pt>
                <c:pt idx="3400">
                  <c:v>41151</c:v>
                </c:pt>
                <c:pt idx="3401">
                  <c:v>41152</c:v>
                </c:pt>
                <c:pt idx="3402">
                  <c:v>41155</c:v>
                </c:pt>
                <c:pt idx="3403">
                  <c:v>41156</c:v>
                </c:pt>
                <c:pt idx="3404">
                  <c:v>41157</c:v>
                </c:pt>
                <c:pt idx="3405">
                  <c:v>41158</c:v>
                </c:pt>
                <c:pt idx="3406">
                  <c:v>41159</c:v>
                </c:pt>
                <c:pt idx="3407">
                  <c:v>41162</c:v>
                </c:pt>
                <c:pt idx="3408">
                  <c:v>41163</c:v>
                </c:pt>
                <c:pt idx="3409">
                  <c:v>41164</c:v>
                </c:pt>
                <c:pt idx="3410">
                  <c:v>41165</c:v>
                </c:pt>
                <c:pt idx="3411">
                  <c:v>41166</c:v>
                </c:pt>
                <c:pt idx="3412">
                  <c:v>41169</c:v>
                </c:pt>
                <c:pt idx="3413">
                  <c:v>41170</c:v>
                </c:pt>
                <c:pt idx="3414">
                  <c:v>41171</c:v>
                </c:pt>
                <c:pt idx="3415">
                  <c:v>41172</c:v>
                </c:pt>
                <c:pt idx="3416">
                  <c:v>41173</c:v>
                </c:pt>
                <c:pt idx="3417">
                  <c:v>41176</c:v>
                </c:pt>
                <c:pt idx="3418">
                  <c:v>41177</c:v>
                </c:pt>
                <c:pt idx="3419">
                  <c:v>41178</c:v>
                </c:pt>
                <c:pt idx="3420">
                  <c:v>41179</c:v>
                </c:pt>
                <c:pt idx="3421">
                  <c:v>41180</c:v>
                </c:pt>
                <c:pt idx="3422">
                  <c:v>41183</c:v>
                </c:pt>
                <c:pt idx="3423">
                  <c:v>41184</c:v>
                </c:pt>
                <c:pt idx="3424">
                  <c:v>41185</c:v>
                </c:pt>
                <c:pt idx="3425">
                  <c:v>41186</c:v>
                </c:pt>
                <c:pt idx="3426">
                  <c:v>41187</c:v>
                </c:pt>
                <c:pt idx="3427">
                  <c:v>41190</c:v>
                </c:pt>
                <c:pt idx="3428">
                  <c:v>41191</c:v>
                </c:pt>
                <c:pt idx="3429">
                  <c:v>41192</c:v>
                </c:pt>
                <c:pt idx="3430">
                  <c:v>41193</c:v>
                </c:pt>
                <c:pt idx="3431">
                  <c:v>41194</c:v>
                </c:pt>
                <c:pt idx="3432">
                  <c:v>41197</c:v>
                </c:pt>
                <c:pt idx="3433">
                  <c:v>41198</c:v>
                </c:pt>
                <c:pt idx="3434">
                  <c:v>41199</c:v>
                </c:pt>
                <c:pt idx="3435">
                  <c:v>41200</c:v>
                </c:pt>
                <c:pt idx="3436">
                  <c:v>41201</c:v>
                </c:pt>
                <c:pt idx="3437">
                  <c:v>41204</c:v>
                </c:pt>
                <c:pt idx="3438">
                  <c:v>41205</c:v>
                </c:pt>
                <c:pt idx="3439">
                  <c:v>41206</c:v>
                </c:pt>
                <c:pt idx="3440">
                  <c:v>41207</c:v>
                </c:pt>
                <c:pt idx="3441">
                  <c:v>41208</c:v>
                </c:pt>
                <c:pt idx="3442">
                  <c:v>41211</c:v>
                </c:pt>
                <c:pt idx="3443">
                  <c:v>41212</c:v>
                </c:pt>
                <c:pt idx="3444">
                  <c:v>41213</c:v>
                </c:pt>
                <c:pt idx="3445">
                  <c:v>41214</c:v>
                </c:pt>
                <c:pt idx="3446">
                  <c:v>41215</c:v>
                </c:pt>
                <c:pt idx="3447">
                  <c:v>41218</c:v>
                </c:pt>
                <c:pt idx="3448">
                  <c:v>41219</c:v>
                </c:pt>
                <c:pt idx="3449">
                  <c:v>41220</c:v>
                </c:pt>
                <c:pt idx="3450">
                  <c:v>41221</c:v>
                </c:pt>
                <c:pt idx="3451">
                  <c:v>41222</c:v>
                </c:pt>
                <c:pt idx="3452">
                  <c:v>41225</c:v>
                </c:pt>
                <c:pt idx="3453">
                  <c:v>41226</c:v>
                </c:pt>
                <c:pt idx="3454">
                  <c:v>41227</c:v>
                </c:pt>
                <c:pt idx="3455">
                  <c:v>41228</c:v>
                </c:pt>
                <c:pt idx="3456">
                  <c:v>41229</c:v>
                </c:pt>
                <c:pt idx="3457">
                  <c:v>41232</c:v>
                </c:pt>
                <c:pt idx="3458">
                  <c:v>41233</c:v>
                </c:pt>
                <c:pt idx="3459">
                  <c:v>41234</c:v>
                </c:pt>
                <c:pt idx="3460">
                  <c:v>41235</c:v>
                </c:pt>
                <c:pt idx="3461">
                  <c:v>41236</c:v>
                </c:pt>
                <c:pt idx="3462">
                  <c:v>41239</c:v>
                </c:pt>
                <c:pt idx="3463">
                  <c:v>41240</c:v>
                </c:pt>
                <c:pt idx="3464">
                  <c:v>41241</c:v>
                </c:pt>
                <c:pt idx="3465">
                  <c:v>41242</c:v>
                </c:pt>
                <c:pt idx="3466">
                  <c:v>41243</c:v>
                </c:pt>
                <c:pt idx="3467">
                  <c:v>41246</c:v>
                </c:pt>
                <c:pt idx="3468">
                  <c:v>41247</c:v>
                </c:pt>
                <c:pt idx="3469">
                  <c:v>41248</c:v>
                </c:pt>
                <c:pt idx="3470">
                  <c:v>41249</c:v>
                </c:pt>
                <c:pt idx="3471">
                  <c:v>41250</c:v>
                </c:pt>
                <c:pt idx="3472">
                  <c:v>41253</c:v>
                </c:pt>
                <c:pt idx="3473">
                  <c:v>41254</c:v>
                </c:pt>
                <c:pt idx="3474">
                  <c:v>41255</c:v>
                </c:pt>
                <c:pt idx="3475">
                  <c:v>41256</c:v>
                </c:pt>
                <c:pt idx="3476">
                  <c:v>41257</c:v>
                </c:pt>
                <c:pt idx="3477">
                  <c:v>41260</c:v>
                </c:pt>
                <c:pt idx="3478">
                  <c:v>41261</c:v>
                </c:pt>
                <c:pt idx="3479">
                  <c:v>41262</c:v>
                </c:pt>
                <c:pt idx="3480">
                  <c:v>41263</c:v>
                </c:pt>
                <c:pt idx="3481">
                  <c:v>41264</c:v>
                </c:pt>
                <c:pt idx="3482">
                  <c:v>41267</c:v>
                </c:pt>
                <c:pt idx="3483">
                  <c:v>41268</c:v>
                </c:pt>
                <c:pt idx="3484">
                  <c:v>41269</c:v>
                </c:pt>
                <c:pt idx="3485">
                  <c:v>41270</c:v>
                </c:pt>
                <c:pt idx="3486">
                  <c:v>41271</c:v>
                </c:pt>
                <c:pt idx="3487">
                  <c:v>41274</c:v>
                </c:pt>
                <c:pt idx="3488">
                  <c:v>41275</c:v>
                </c:pt>
                <c:pt idx="3489">
                  <c:v>41276</c:v>
                </c:pt>
                <c:pt idx="3490">
                  <c:v>41277</c:v>
                </c:pt>
                <c:pt idx="3491">
                  <c:v>41278</c:v>
                </c:pt>
                <c:pt idx="3492">
                  <c:v>41281</c:v>
                </c:pt>
                <c:pt idx="3493">
                  <c:v>41282</c:v>
                </c:pt>
                <c:pt idx="3494">
                  <c:v>41283</c:v>
                </c:pt>
                <c:pt idx="3495">
                  <c:v>41284</c:v>
                </c:pt>
                <c:pt idx="3496">
                  <c:v>41285</c:v>
                </c:pt>
                <c:pt idx="3497">
                  <c:v>41288</c:v>
                </c:pt>
                <c:pt idx="3498">
                  <c:v>41289</c:v>
                </c:pt>
                <c:pt idx="3499">
                  <c:v>41290</c:v>
                </c:pt>
                <c:pt idx="3500">
                  <c:v>41291</c:v>
                </c:pt>
                <c:pt idx="3501">
                  <c:v>41292</c:v>
                </c:pt>
                <c:pt idx="3502">
                  <c:v>41295</c:v>
                </c:pt>
                <c:pt idx="3503">
                  <c:v>41296</c:v>
                </c:pt>
                <c:pt idx="3504">
                  <c:v>41297</c:v>
                </c:pt>
                <c:pt idx="3505">
                  <c:v>41298</c:v>
                </c:pt>
                <c:pt idx="3506">
                  <c:v>41299</c:v>
                </c:pt>
                <c:pt idx="3507">
                  <c:v>41302</c:v>
                </c:pt>
                <c:pt idx="3508">
                  <c:v>41303</c:v>
                </c:pt>
                <c:pt idx="3509">
                  <c:v>41304</c:v>
                </c:pt>
                <c:pt idx="3510">
                  <c:v>41305</c:v>
                </c:pt>
                <c:pt idx="3511">
                  <c:v>41306</c:v>
                </c:pt>
                <c:pt idx="3512">
                  <c:v>41309</c:v>
                </c:pt>
                <c:pt idx="3513">
                  <c:v>41310</c:v>
                </c:pt>
                <c:pt idx="3514">
                  <c:v>41311</c:v>
                </c:pt>
                <c:pt idx="3515">
                  <c:v>41312</c:v>
                </c:pt>
                <c:pt idx="3516">
                  <c:v>41313</c:v>
                </c:pt>
                <c:pt idx="3517">
                  <c:v>41316</c:v>
                </c:pt>
                <c:pt idx="3518">
                  <c:v>41317</c:v>
                </c:pt>
                <c:pt idx="3519">
                  <c:v>41318</c:v>
                </c:pt>
                <c:pt idx="3520">
                  <c:v>41319</c:v>
                </c:pt>
                <c:pt idx="3521">
                  <c:v>41320</c:v>
                </c:pt>
                <c:pt idx="3522">
                  <c:v>41323</c:v>
                </c:pt>
                <c:pt idx="3523">
                  <c:v>41324</c:v>
                </c:pt>
                <c:pt idx="3524">
                  <c:v>41325</c:v>
                </c:pt>
                <c:pt idx="3525">
                  <c:v>41326</c:v>
                </c:pt>
                <c:pt idx="3526">
                  <c:v>41327</c:v>
                </c:pt>
                <c:pt idx="3527">
                  <c:v>41330</c:v>
                </c:pt>
                <c:pt idx="3528">
                  <c:v>41331</c:v>
                </c:pt>
                <c:pt idx="3529">
                  <c:v>41332</c:v>
                </c:pt>
                <c:pt idx="3530">
                  <c:v>41333</c:v>
                </c:pt>
                <c:pt idx="3531">
                  <c:v>41334</c:v>
                </c:pt>
                <c:pt idx="3532">
                  <c:v>41337</c:v>
                </c:pt>
                <c:pt idx="3533">
                  <c:v>41338</c:v>
                </c:pt>
                <c:pt idx="3534">
                  <c:v>41339</c:v>
                </c:pt>
                <c:pt idx="3535">
                  <c:v>41340</c:v>
                </c:pt>
                <c:pt idx="3536">
                  <c:v>41341</c:v>
                </c:pt>
                <c:pt idx="3537">
                  <c:v>41344</c:v>
                </c:pt>
                <c:pt idx="3538">
                  <c:v>41345</c:v>
                </c:pt>
                <c:pt idx="3539">
                  <c:v>41346</c:v>
                </c:pt>
                <c:pt idx="3540">
                  <c:v>41347</c:v>
                </c:pt>
                <c:pt idx="3541">
                  <c:v>41348</c:v>
                </c:pt>
                <c:pt idx="3542">
                  <c:v>41351</c:v>
                </c:pt>
                <c:pt idx="3543">
                  <c:v>41352</c:v>
                </c:pt>
                <c:pt idx="3544">
                  <c:v>41353</c:v>
                </c:pt>
                <c:pt idx="3545">
                  <c:v>41354</c:v>
                </c:pt>
                <c:pt idx="3546">
                  <c:v>41355</c:v>
                </c:pt>
                <c:pt idx="3547">
                  <c:v>41358</c:v>
                </c:pt>
                <c:pt idx="3548">
                  <c:v>41359</c:v>
                </c:pt>
                <c:pt idx="3549">
                  <c:v>41360</c:v>
                </c:pt>
                <c:pt idx="3550">
                  <c:v>41361</c:v>
                </c:pt>
                <c:pt idx="3551">
                  <c:v>41362</c:v>
                </c:pt>
                <c:pt idx="3552">
                  <c:v>41365</c:v>
                </c:pt>
                <c:pt idx="3553">
                  <c:v>41366</c:v>
                </c:pt>
                <c:pt idx="3554">
                  <c:v>41367</c:v>
                </c:pt>
                <c:pt idx="3555">
                  <c:v>41368</c:v>
                </c:pt>
                <c:pt idx="3556">
                  <c:v>41369</c:v>
                </c:pt>
                <c:pt idx="3557">
                  <c:v>41372</c:v>
                </c:pt>
                <c:pt idx="3558">
                  <c:v>41373</c:v>
                </c:pt>
                <c:pt idx="3559">
                  <c:v>41374</c:v>
                </c:pt>
                <c:pt idx="3560">
                  <c:v>41375</c:v>
                </c:pt>
                <c:pt idx="3561">
                  <c:v>41376</c:v>
                </c:pt>
                <c:pt idx="3562">
                  <c:v>41379</c:v>
                </c:pt>
                <c:pt idx="3563">
                  <c:v>41380</c:v>
                </c:pt>
                <c:pt idx="3564">
                  <c:v>41381</c:v>
                </c:pt>
                <c:pt idx="3565">
                  <c:v>41382</c:v>
                </c:pt>
                <c:pt idx="3566">
                  <c:v>41383</c:v>
                </c:pt>
                <c:pt idx="3567">
                  <c:v>41386</c:v>
                </c:pt>
                <c:pt idx="3568">
                  <c:v>41387</c:v>
                </c:pt>
                <c:pt idx="3569">
                  <c:v>41388</c:v>
                </c:pt>
                <c:pt idx="3570">
                  <c:v>41389</c:v>
                </c:pt>
                <c:pt idx="3571">
                  <c:v>41390</c:v>
                </c:pt>
                <c:pt idx="3572">
                  <c:v>41393</c:v>
                </c:pt>
                <c:pt idx="3573">
                  <c:v>41394</c:v>
                </c:pt>
                <c:pt idx="3574">
                  <c:v>41395</c:v>
                </c:pt>
                <c:pt idx="3575">
                  <c:v>41396</c:v>
                </c:pt>
                <c:pt idx="3576">
                  <c:v>41397</c:v>
                </c:pt>
                <c:pt idx="3577">
                  <c:v>41400</c:v>
                </c:pt>
                <c:pt idx="3578">
                  <c:v>41401</c:v>
                </c:pt>
                <c:pt idx="3579">
                  <c:v>41402</c:v>
                </c:pt>
                <c:pt idx="3580">
                  <c:v>41403</c:v>
                </c:pt>
                <c:pt idx="3581">
                  <c:v>41404</c:v>
                </c:pt>
                <c:pt idx="3582">
                  <c:v>41407</c:v>
                </c:pt>
                <c:pt idx="3583">
                  <c:v>41408</c:v>
                </c:pt>
                <c:pt idx="3584">
                  <c:v>41409</c:v>
                </c:pt>
                <c:pt idx="3585">
                  <c:v>41410</c:v>
                </c:pt>
                <c:pt idx="3586">
                  <c:v>41411</c:v>
                </c:pt>
                <c:pt idx="3587">
                  <c:v>41414</c:v>
                </c:pt>
                <c:pt idx="3588">
                  <c:v>41415</c:v>
                </c:pt>
                <c:pt idx="3589">
                  <c:v>41416</c:v>
                </c:pt>
                <c:pt idx="3590">
                  <c:v>41417</c:v>
                </c:pt>
                <c:pt idx="3591">
                  <c:v>41418</c:v>
                </c:pt>
                <c:pt idx="3592">
                  <c:v>41421</c:v>
                </c:pt>
                <c:pt idx="3593">
                  <c:v>41422</c:v>
                </c:pt>
                <c:pt idx="3594">
                  <c:v>41423</c:v>
                </c:pt>
                <c:pt idx="3595">
                  <c:v>41424</c:v>
                </c:pt>
                <c:pt idx="3596">
                  <c:v>41425</c:v>
                </c:pt>
                <c:pt idx="3597">
                  <c:v>41428</c:v>
                </c:pt>
                <c:pt idx="3598">
                  <c:v>41429</c:v>
                </c:pt>
                <c:pt idx="3599">
                  <c:v>41430</c:v>
                </c:pt>
                <c:pt idx="3600">
                  <c:v>41431</c:v>
                </c:pt>
                <c:pt idx="3601">
                  <c:v>41432</c:v>
                </c:pt>
                <c:pt idx="3602">
                  <c:v>41435</c:v>
                </c:pt>
                <c:pt idx="3603">
                  <c:v>41436</c:v>
                </c:pt>
                <c:pt idx="3604">
                  <c:v>41437</c:v>
                </c:pt>
                <c:pt idx="3605">
                  <c:v>41438</c:v>
                </c:pt>
                <c:pt idx="3606">
                  <c:v>41439</c:v>
                </c:pt>
                <c:pt idx="3607">
                  <c:v>41442</c:v>
                </c:pt>
                <c:pt idx="3608">
                  <c:v>41443</c:v>
                </c:pt>
                <c:pt idx="3609">
                  <c:v>41444</c:v>
                </c:pt>
                <c:pt idx="3610">
                  <c:v>41445</c:v>
                </c:pt>
                <c:pt idx="3611">
                  <c:v>41446</c:v>
                </c:pt>
                <c:pt idx="3612">
                  <c:v>41449</c:v>
                </c:pt>
                <c:pt idx="3613">
                  <c:v>41450</c:v>
                </c:pt>
                <c:pt idx="3614">
                  <c:v>41451</c:v>
                </c:pt>
                <c:pt idx="3615">
                  <c:v>41452</c:v>
                </c:pt>
                <c:pt idx="3616">
                  <c:v>41453</c:v>
                </c:pt>
                <c:pt idx="3617">
                  <c:v>41456</c:v>
                </c:pt>
                <c:pt idx="3618">
                  <c:v>41457</c:v>
                </c:pt>
                <c:pt idx="3619">
                  <c:v>41458</c:v>
                </c:pt>
                <c:pt idx="3620">
                  <c:v>41459</c:v>
                </c:pt>
                <c:pt idx="3621">
                  <c:v>41460</c:v>
                </c:pt>
                <c:pt idx="3622">
                  <c:v>41463</c:v>
                </c:pt>
                <c:pt idx="3623">
                  <c:v>41464</c:v>
                </c:pt>
                <c:pt idx="3624">
                  <c:v>41465</c:v>
                </c:pt>
                <c:pt idx="3625">
                  <c:v>41466</c:v>
                </c:pt>
                <c:pt idx="3626">
                  <c:v>41467</c:v>
                </c:pt>
                <c:pt idx="3627">
                  <c:v>41470</c:v>
                </c:pt>
                <c:pt idx="3628">
                  <c:v>41471</c:v>
                </c:pt>
                <c:pt idx="3629">
                  <c:v>41472</c:v>
                </c:pt>
                <c:pt idx="3630">
                  <c:v>41473</c:v>
                </c:pt>
                <c:pt idx="3631">
                  <c:v>41474</c:v>
                </c:pt>
                <c:pt idx="3632">
                  <c:v>41477</c:v>
                </c:pt>
                <c:pt idx="3633">
                  <c:v>41478</c:v>
                </c:pt>
                <c:pt idx="3634">
                  <c:v>41479</c:v>
                </c:pt>
                <c:pt idx="3635">
                  <c:v>41480</c:v>
                </c:pt>
                <c:pt idx="3636">
                  <c:v>41481</c:v>
                </c:pt>
                <c:pt idx="3637">
                  <c:v>41484</c:v>
                </c:pt>
                <c:pt idx="3638">
                  <c:v>41485</c:v>
                </c:pt>
                <c:pt idx="3639">
                  <c:v>41486</c:v>
                </c:pt>
                <c:pt idx="3640">
                  <c:v>41487</c:v>
                </c:pt>
                <c:pt idx="3641">
                  <c:v>41488</c:v>
                </c:pt>
                <c:pt idx="3642">
                  <c:v>41491</c:v>
                </c:pt>
                <c:pt idx="3643">
                  <c:v>41492</c:v>
                </c:pt>
                <c:pt idx="3644">
                  <c:v>41493</c:v>
                </c:pt>
                <c:pt idx="3645">
                  <c:v>41494</c:v>
                </c:pt>
                <c:pt idx="3646">
                  <c:v>41495</c:v>
                </c:pt>
                <c:pt idx="3647">
                  <c:v>41498</c:v>
                </c:pt>
                <c:pt idx="3648">
                  <c:v>41499</c:v>
                </c:pt>
                <c:pt idx="3649">
                  <c:v>41500</c:v>
                </c:pt>
                <c:pt idx="3650">
                  <c:v>41501</c:v>
                </c:pt>
                <c:pt idx="3651">
                  <c:v>41502</c:v>
                </c:pt>
                <c:pt idx="3652">
                  <c:v>41505</c:v>
                </c:pt>
                <c:pt idx="3653">
                  <c:v>41506</c:v>
                </c:pt>
                <c:pt idx="3654">
                  <c:v>41507</c:v>
                </c:pt>
                <c:pt idx="3655">
                  <c:v>41508</c:v>
                </c:pt>
                <c:pt idx="3656">
                  <c:v>41509</c:v>
                </c:pt>
                <c:pt idx="3657">
                  <c:v>41512</c:v>
                </c:pt>
                <c:pt idx="3658">
                  <c:v>41513</c:v>
                </c:pt>
                <c:pt idx="3659">
                  <c:v>41514</c:v>
                </c:pt>
                <c:pt idx="3660">
                  <c:v>41515</c:v>
                </c:pt>
                <c:pt idx="3661">
                  <c:v>41516</c:v>
                </c:pt>
                <c:pt idx="3662">
                  <c:v>41519</c:v>
                </c:pt>
                <c:pt idx="3663">
                  <c:v>41520</c:v>
                </c:pt>
                <c:pt idx="3664">
                  <c:v>41521</c:v>
                </c:pt>
                <c:pt idx="3665">
                  <c:v>41522</c:v>
                </c:pt>
                <c:pt idx="3666">
                  <c:v>41523</c:v>
                </c:pt>
                <c:pt idx="3667">
                  <c:v>41526</c:v>
                </c:pt>
                <c:pt idx="3668">
                  <c:v>41527</c:v>
                </c:pt>
                <c:pt idx="3669">
                  <c:v>41528</c:v>
                </c:pt>
                <c:pt idx="3670">
                  <c:v>41529</c:v>
                </c:pt>
                <c:pt idx="3671">
                  <c:v>41530</c:v>
                </c:pt>
                <c:pt idx="3672">
                  <c:v>41533</c:v>
                </c:pt>
                <c:pt idx="3673">
                  <c:v>41534</c:v>
                </c:pt>
                <c:pt idx="3674">
                  <c:v>41535</c:v>
                </c:pt>
                <c:pt idx="3675">
                  <c:v>41536</c:v>
                </c:pt>
                <c:pt idx="3676">
                  <c:v>41537</c:v>
                </c:pt>
                <c:pt idx="3677">
                  <c:v>41540</c:v>
                </c:pt>
                <c:pt idx="3678">
                  <c:v>41541</c:v>
                </c:pt>
                <c:pt idx="3679">
                  <c:v>41542</c:v>
                </c:pt>
                <c:pt idx="3680">
                  <c:v>41543</c:v>
                </c:pt>
                <c:pt idx="3681">
                  <c:v>41544</c:v>
                </c:pt>
                <c:pt idx="3682">
                  <c:v>41547</c:v>
                </c:pt>
                <c:pt idx="3683">
                  <c:v>41548</c:v>
                </c:pt>
                <c:pt idx="3684">
                  <c:v>41549</c:v>
                </c:pt>
                <c:pt idx="3685">
                  <c:v>41550</c:v>
                </c:pt>
                <c:pt idx="3686">
                  <c:v>41551</c:v>
                </c:pt>
                <c:pt idx="3687">
                  <c:v>41554</c:v>
                </c:pt>
                <c:pt idx="3688">
                  <c:v>41555</c:v>
                </c:pt>
                <c:pt idx="3689">
                  <c:v>41556</c:v>
                </c:pt>
                <c:pt idx="3690">
                  <c:v>41557</c:v>
                </c:pt>
                <c:pt idx="3691">
                  <c:v>41558</c:v>
                </c:pt>
                <c:pt idx="3692">
                  <c:v>41561</c:v>
                </c:pt>
                <c:pt idx="3693">
                  <c:v>41562</c:v>
                </c:pt>
                <c:pt idx="3694">
                  <c:v>41563</c:v>
                </c:pt>
                <c:pt idx="3695">
                  <c:v>41564</c:v>
                </c:pt>
                <c:pt idx="3696">
                  <c:v>41565</c:v>
                </c:pt>
                <c:pt idx="3697">
                  <c:v>41568</c:v>
                </c:pt>
                <c:pt idx="3698">
                  <c:v>41569</c:v>
                </c:pt>
                <c:pt idx="3699">
                  <c:v>41570</c:v>
                </c:pt>
                <c:pt idx="3700">
                  <c:v>41571</c:v>
                </c:pt>
                <c:pt idx="3701">
                  <c:v>41572</c:v>
                </c:pt>
                <c:pt idx="3702">
                  <c:v>41575</c:v>
                </c:pt>
                <c:pt idx="3703">
                  <c:v>41576</c:v>
                </c:pt>
                <c:pt idx="3704">
                  <c:v>41577</c:v>
                </c:pt>
                <c:pt idx="3705">
                  <c:v>41578</c:v>
                </c:pt>
                <c:pt idx="3706">
                  <c:v>41579</c:v>
                </c:pt>
                <c:pt idx="3707">
                  <c:v>41582</c:v>
                </c:pt>
                <c:pt idx="3708">
                  <c:v>41583</c:v>
                </c:pt>
                <c:pt idx="3709">
                  <c:v>41584</c:v>
                </c:pt>
                <c:pt idx="3710">
                  <c:v>41585</c:v>
                </c:pt>
                <c:pt idx="3711">
                  <c:v>41586</c:v>
                </c:pt>
                <c:pt idx="3712">
                  <c:v>41589</c:v>
                </c:pt>
                <c:pt idx="3713">
                  <c:v>41590</c:v>
                </c:pt>
                <c:pt idx="3714">
                  <c:v>41591</c:v>
                </c:pt>
                <c:pt idx="3715">
                  <c:v>41592</c:v>
                </c:pt>
                <c:pt idx="3716">
                  <c:v>41593</c:v>
                </c:pt>
                <c:pt idx="3717">
                  <c:v>41596</c:v>
                </c:pt>
                <c:pt idx="3718">
                  <c:v>41597</c:v>
                </c:pt>
                <c:pt idx="3719">
                  <c:v>41598</c:v>
                </c:pt>
                <c:pt idx="3720">
                  <c:v>41599</c:v>
                </c:pt>
                <c:pt idx="3721">
                  <c:v>41600</c:v>
                </c:pt>
                <c:pt idx="3722">
                  <c:v>41603</c:v>
                </c:pt>
                <c:pt idx="3723">
                  <c:v>41604</c:v>
                </c:pt>
                <c:pt idx="3724">
                  <c:v>41605</c:v>
                </c:pt>
                <c:pt idx="3725">
                  <c:v>41606</c:v>
                </c:pt>
                <c:pt idx="3726">
                  <c:v>41607</c:v>
                </c:pt>
                <c:pt idx="3727">
                  <c:v>41610</c:v>
                </c:pt>
                <c:pt idx="3728">
                  <c:v>41611</c:v>
                </c:pt>
                <c:pt idx="3729">
                  <c:v>41612</c:v>
                </c:pt>
                <c:pt idx="3730">
                  <c:v>41613</c:v>
                </c:pt>
                <c:pt idx="3731">
                  <c:v>41614</c:v>
                </c:pt>
                <c:pt idx="3732">
                  <c:v>41617</c:v>
                </c:pt>
                <c:pt idx="3733">
                  <c:v>41618</c:v>
                </c:pt>
                <c:pt idx="3734">
                  <c:v>41619</c:v>
                </c:pt>
                <c:pt idx="3735">
                  <c:v>41620</c:v>
                </c:pt>
                <c:pt idx="3736">
                  <c:v>41621</c:v>
                </c:pt>
                <c:pt idx="3737">
                  <c:v>41624</c:v>
                </c:pt>
                <c:pt idx="3738">
                  <c:v>41625</c:v>
                </c:pt>
                <c:pt idx="3739">
                  <c:v>41626</c:v>
                </c:pt>
                <c:pt idx="3740">
                  <c:v>41627</c:v>
                </c:pt>
                <c:pt idx="3741">
                  <c:v>41628</c:v>
                </c:pt>
                <c:pt idx="3742">
                  <c:v>41631</c:v>
                </c:pt>
                <c:pt idx="3743">
                  <c:v>41632</c:v>
                </c:pt>
                <c:pt idx="3744">
                  <c:v>41633</c:v>
                </c:pt>
                <c:pt idx="3745">
                  <c:v>41634</c:v>
                </c:pt>
                <c:pt idx="3746">
                  <c:v>41635</c:v>
                </c:pt>
                <c:pt idx="3747">
                  <c:v>41638</c:v>
                </c:pt>
                <c:pt idx="3748">
                  <c:v>41639</c:v>
                </c:pt>
                <c:pt idx="3749">
                  <c:v>41640</c:v>
                </c:pt>
                <c:pt idx="3750">
                  <c:v>41641</c:v>
                </c:pt>
                <c:pt idx="3751">
                  <c:v>41642</c:v>
                </c:pt>
                <c:pt idx="3752">
                  <c:v>41645</c:v>
                </c:pt>
                <c:pt idx="3753">
                  <c:v>41646</c:v>
                </c:pt>
                <c:pt idx="3754">
                  <c:v>41647</c:v>
                </c:pt>
                <c:pt idx="3755">
                  <c:v>41648</c:v>
                </c:pt>
                <c:pt idx="3756">
                  <c:v>41649</c:v>
                </c:pt>
                <c:pt idx="3757">
                  <c:v>41652</c:v>
                </c:pt>
                <c:pt idx="3758">
                  <c:v>41653</c:v>
                </c:pt>
                <c:pt idx="3759">
                  <c:v>41654</c:v>
                </c:pt>
                <c:pt idx="3760">
                  <c:v>41655</c:v>
                </c:pt>
                <c:pt idx="3761">
                  <c:v>41656</c:v>
                </c:pt>
                <c:pt idx="3762">
                  <c:v>41659</c:v>
                </c:pt>
                <c:pt idx="3763">
                  <c:v>41660</c:v>
                </c:pt>
                <c:pt idx="3764">
                  <c:v>41661</c:v>
                </c:pt>
                <c:pt idx="3765">
                  <c:v>41662</c:v>
                </c:pt>
                <c:pt idx="3766">
                  <c:v>41663</c:v>
                </c:pt>
                <c:pt idx="3767">
                  <c:v>41666</c:v>
                </c:pt>
                <c:pt idx="3768">
                  <c:v>41667</c:v>
                </c:pt>
                <c:pt idx="3769">
                  <c:v>41668</c:v>
                </c:pt>
                <c:pt idx="3770">
                  <c:v>41669</c:v>
                </c:pt>
                <c:pt idx="3771">
                  <c:v>41670</c:v>
                </c:pt>
                <c:pt idx="3772">
                  <c:v>41673</c:v>
                </c:pt>
                <c:pt idx="3773">
                  <c:v>41674</c:v>
                </c:pt>
                <c:pt idx="3774">
                  <c:v>41675</c:v>
                </c:pt>
                <c:pt idx="3775">
                  <c:v>41676</c:v>
                </c:pt>
                <c:pt idx="3776">
                  <c:v>41677</c:v>
                </c:pt>
                <c:pt idx="3777">
                  <c:v>41680</c:v>
                </c:pt>
                <c:pt idx="3778">
                  <c:v>41681</c:v>
                </c:pt>
                <c:pt idx="3779">
                  <c:v>41682</c:v>
                </c:pt>
                <c:pt idx="3780">
                  <c:v>41683</c:v>
                </c:pt>
                <c:pt idx="3781">
                  <c:v>41684</c:v>
                </c:pt>
                <c:pt idx="3782">
                  <c:v>41687</c:v>
                </c:pt>
                <c:pt idx="3783">
                  <c:v>41688</c:v>
                </c:pt>
                <c:pt idx="3784">
                  <c:v>41689</c:v>
                </c:pt>
                <c:pt idx="3785">
                  <c:v>41690</c:v>
                </c:pt>
                <c:pt idx="3786">
                  <c:v>41691</c:v>
                </c:pt>
                <c:pt idx="3787">
                  <c:v>41694</c:v>
                </c:pt>
                <c:pt idx="3788">
                  <c:v>41695</c:v>
                </c:pt>
                <c:pt idx="3789">
                  <c:v>41696</c:v>
                </c:pt>
                <c:pt idx="3790">
                  <c:v>41697</c:v>
                </c:pt>
                <c:pt idx="3791">
                  <c:v>41698</c:v>
                </c:pt>
                <c:pt idx="3792">
                  <c:v>41701</c:v>
                </c:pt>
                <c:pt idx="3793">
                  <c:v>41702</c:v>
                </c:pt>
                <c:pt idx="3794">
                  <c:v>41703</c:v>
                </c:pt>
                <c:pt idx="3795">
                  <c:v>41704</c:v>
                </c:pt>
                <c:pt idx="3796">
                  <c:v>41705</c:v>
                </c:pt>
                <c:pt idx="3797">
                  <c:v>41708</c:v>
                </c:pt>
                <c:pt idx="3798">
                  <c:v>41709</c:v>
                </c:pt>
                <c:pt idx="3799">
                  <c:v>41710</c:v>
                </c:pt>
                <c:pt idx="3800">
                  <c:v>41711</c:v>
                </c:pt>
                <c:pt idx="3801">
                  <c:v>41712</c:v>
                </c:pt>
                <c:pt idx="3802">
                  <c:v>41715</c:v>
                </c:pt>
                <c:pt idx="3803">
                  <c:v>41716</c:v>
                </c:pt>
                <c:pt idx="3804">
                  <c:v>41717</c:v>
                </c:pt>
                <c:pt idx="3805">
                  <c:v>41718</c:v>
                </c:pt>
                <c:pt idx="3806">
                  <c:v>41719</c:v>
                </c:pt>
                <c:pt idx="3807">
                  <c:v>41722</c:v>
                </c:pt>
                <c:pt idx="3808">
                  <c:v>41723</c:v>
                </c:pt>
                <c:pt idx="3809">
                  <c:v>41724</c:v>
                </c:pt>
                <c:pt idx="3810">
                  <c:v>41725</c:v>
                </c:pt>
                <c:pt idx="3811">
                  <c:v>41726</c:v>
                </c:pt>
                <c:pt idx="3812">
                  <c:v>41729</c:v>
                </c:pt>
                <c:pt idx="3813">
                  <c:v>41730</c:v>
                </c:pt>
                <c:pt idx="3814">
                  <c:v>41731</c:v>
                </c:pt>
                <c:pt idx="3815">
                  <c:v>41732</c:v>
                </c:pt>
                <c:pt idx="3816">
                  <c:v>41733</c:v>
                </c:pt>
                <c:pt idx="3817">
                  <c:v>41736</c:v>
                </c:pt>
                <c:pt idx="3818">
                  <c:v>41737</c:v>
                </c:pt>
                <c:pt idx="3819">
                  <c:v>41738</c:v>
                </c:pt>
                <c:pt idx="3820">
                  <c:v>41739</c:v>
                </c:pt>
                <c:pt idx="3821">
                  <c:v>41740</c:v>
                </c:pt>
                <c:pt idx="3822">
                  <c:v>41743</c:v>
                </c:pt>
                <c:pt idx="3823">
                  <c:v>41744</c:v>
                </c:pt>
                <c:pt idx="3824">
                  <c:v>41745</c:v>
                </c:pt>
                <c:pt idx="3825">
                  <c:v>41746</c:v>
                </c:pt>
                <c:pt idx="3826">
                  <c:v>41747</c:v>
                </c:pt>
                <c:pt idx="3827">
                  <c:v>41750</c:v>
                </c:pt>
                <c:pt idx="3828">
                  <c:v>41751</c:v>
                </c:pt>
                <c:pt idx="3829">
                  <c:v>41752</c:v>
                </c:pt>
                <c:pt idx="3830">
                  <c:v>41753</c:v>
                </c:pt>
                <c:pt idx="3831">
                  <c:v>41754</c:v>
                </c:pt>
                <c:pt idx="3832">
                  <c:v>41757</c:v>
                </c:pt>
                <c:pt idx="3833">
                  <c:v>41758</c:v>
                </c:pt>
                <c:pt idx="3834">
                  <c:v>41759</c:v>
                </c:pt>
                <c:pt idx="3835">
                  <c:v>41760</c:v>
                </c:pt>
                <c:pt idx="3836">
                  <c:v>41761</c:v>
                </c:pt>
                <c:pt idx="3837">
                  <c:v>41764</c:v>
                </c:pt>
                <c:pt idx="3838">
                  <c:v>41765</c:v>
                </c:pt>
                <c:pt idx="3839">
                  <c:v>41766</c:v>
                </c:pt>
                <c:pt idx="3840">
                  <c:v>41767</c:v>
                </c:pt>
                <c:pt idx="3841">
                  <c:v>41768</c:v>
                </c:pt>
                <c:pt idx="3842">
                  <c:v>41771</c:v>
                </c:pt>
                <c:pt idx="3843">
                  <c:v>41772</c:v>
                </c:pt>
                <c:pt idx="3844">
                  <c:v>41773</c:v>
                </c:pt>
                <c:pt idx="3845">
                  <c:v>41774</c:v>
                </c:pt>
                <c:pt idx="3846">
                  <c:v>41775</c:v>
                </c:pt>
                <c:pt idx="3847">
                  <c:v>41778</c:v>
                </c:pt>
                <c:pt idx="3848">
                  <c:v>41779</c:v>
                </c:pt>
                <c:pt idx="3849">
                  <c:v>41780</c:v>
                </c:pt>
                <c:pt idx="3850">
                  <c:v>41781</c:v>
                </c:pt>
                <c:pt idx="3851">
                  <c:v>41782</c:v>
                </c:pt>
                <c:pt idx="3852">
                  <c:v>41785</c:v>
                </c:pt>
                <c:pt idx="3853">
                  <c:v>41786</c:v>
                </c:pt>
                <c:pt idx="3854">
                  <c:v>41787</c:v>
                </c:pt>
                <c:pt idx="3855">
                  <c:v>41788</c:v>
                </c:pt>
                <c:pt idx="3856">
                  <c:v>41789</c:v>
                </c:pt>
                <c:pt idx="3857">
                  <c:v>41792</c:v>
                </c:pt>
                <c:pt idx="3858">
                  <c:v>41793</c:v>
                </c:pt>
                <c:pt idx="3859">
                  <c:v>41794</c:v>
                </c:pt>
                <c:pt idx="3860">
                  <c:v>41795</c:v>
                </c:pt>
                <c:pt idx="3861">
                  <c:v>41796</c:v>
                </c:pt>
                <c:pt idx="3862">
                  <c:v>41799</c:v>
                </c:pt>
                <c:pt idx="3863">
                  <c:v>41800</c:v>
                </c:pt>
                <c:pt idx="3864">
                  <c:v>41801</c:v>
                </c:pt>
                <c:pt idx="3865">
                  <c:v>41802</c:v>
                </c:pt>
                <c:pt idx="3866">
                  <c:v>41803</c:v>
                </c:pt>
                <c:pt idx="3867">
                  <c:v>41806</c:v>
                </c:pt>
                <c:pt idx="3868">
                  <c:v>41807</c:v>
                </c:pt>
                <c:pt idx="3869">
                  <c:v>41808</c:v>
                </c:pt>
                <c:pt idx="3870">
                  <c:v>41809</c:v>
                </c:pt>
                <c:pt idx="3871">
                  <c:v>41810</c:v>
                </c:pt>
                <c:pt idx="3872">
                  <c:v>41813</c:v>
                </c:pt>
                <c:pt idx="3873">
                  <c:v>41814</c:v>
                </c:pt>
                <c:pt idx="3874">
                  <c:v>41815</c:v>
                </c:pt>
                <c:pt idx="3875">
                  <c:v>41816</c:v>
                </c:pt>
                <c:pt idx="3876">
                  <c:v>41817</c:v>
                </c:pt>
                <c:pt idx="3877">
                  <c:v>41820</c:v>
                </c:pt>
                <c:pt idx="3878">
                  <c:v>41821</c:v>
                </c:pt>
                <c:pt idx="3879">
                  <c:v>41822</c:v>
                </c:pt>
                <c:pt idx="3880">
                  <c:v>41823</c:v>
                </c:pt>
                <c:pt idx="3881">
                  <c:v>41824</c:v>
                </c:pt>
                <c:pt idx="3882">
                  <c:v>41827</c:v>
                </c:pt>
                <c:pt idx="3883">
                  <c:v>41828</c:v>
                </c:pt>
                <c:pt idx="3884">
                  <c:v>41829</c:v>
                </c:pt>
                <c:pt idx="3885">
                  <c:v>41830</c:v>
                </c:pt>
                <c:pt idx="3886">
                  <c:v>41831</c:v>
                </c:pt>
                <c:pt idx="3887">
                  <c:v>41834</c:v>
                </c:pt>
                <c:pt idx="3888">
                  <c:v>41835</c:v>
                </c:pt>
                <c:pt idx="3889">
                  <c:v>41836</c:v>
                </c:pt>
                <c:pt idx="3890">
                  <c:v>41837</c:v>
                </c:pt>
                <c:pt idx="3891">
                  <c:v>41838</c:v>
                </c:pt>
                <c:pt idx="3892">
                  <c:v>41841</c:v>
                </c:pt>
                <c:pt idx="3893">
                  <c:v>41842</c:v>
                </c:pt>
                <c:pt idx="3894">
                  <c:v>41843</c:v>
                </c:pt>
                <c:pt idx="3895">
                  <c:v>41844</c:v>
                </c:pt>
                <c:pt idx="3896">
                  <c:v>41845</c:v>
                </c:pt>
                <c:pt idx="3897">
                  <c:v>41848</c:v>
                </c:pt>
                <c:pt idx="3898">
                  <c:v>41849</c:v>
                </c:pt>
                <c:pt idx="3899">
                  <c:v>41850</c:v>
                </c:pt>
                <c:pt idx="3900">
                  <c:v>41851</c:v>
                </c:pt>
                <c:pt idx="3901">
                  <c:v>41852</c:v>
                </c:pt>
                <c:pt idx="3902">
                  <c:v>41855</c:v>
                </c:pt>
                <c:pt idx="3903">
                  <c:v>41856</c:v>
                </c:pt>
                <c:pt idx="3904">
                  <c:v>41857</c:v>
                </c:pt>
                <c:pt idx="3905">
                  <c:v>41858</c:v>
                </c:pt>
                <c:pt idx="3906">
                  <c:v>41859</c:v>
                </c:pt>
                <c:pt idx="3907">
                  <c:v>41862</c:v>
                </c:pt>
                <c:pt idx="3908">
                  <c:v>41863</c:v>
                </c:pt>
                <c:pt idx="3909">
                  <c:v>41864</c:v>
                </c:pt>
                <c:pt idx="3910">
                  <c:v>41865</c:v>
                </c:pt>
                <c:pt idx="3911">
                  <c:v>41866</c:v>
                </c:pt>
                <c:pt idx="3912">
                  <c:v>41869</c:v>
                </c:pt>
                <c:pt idx="3913">
                  <c:v>41870</c:v>
                </c:pt>
                <c:pt idx="3914">
                  <c:v>41871</c:v>
                </c:pt>
                <c:pt idx="3915">
                  <c:v>41872</c:v>
                </c:pt>
                <c:pt idx="3916">
                  <c:v>41873</c:v>
                </c:pt>
                <c:pt idx="3917">
                  <c:v>41876</c:v>
                </c:pt>
                <c:pt idx="3918">
                  <c:v>41877</c:v>
                </c:pt>
                <c:pt idx="3919">
                  <c:v>41878</c:v>
                </c:pt>
                <c:pt idx="3920">
                  <c:v>41879</c:v>
                </c:pt>
                <c:pt idx="3921">
                  <c:v>41880</c:v>
                </c:pt>
                <c:pt idx="3922">
                  <c:v>41883</c:v>
                </c:pt>
                <c:pt idx="3923">
                  <c:v>41884</c:v>
                </c:pt>
                <c:pt idx="3924">
                  <c:v>41885</c:v>
                </c:pt>
                <c:pt idx="3925">
                  <c:v>41886</c:v>
                </c:pt>
                <c:pt idx="3926">
                  <c:v>41887</c:v>
                </c:pt>
                <c:pt idx="3927">
                  <c:v>41890</c:v>
                </c:pt>
                <c:pt idx="3928">
                  <c:v>41891</c:v>
                </c:pt>
                <c:pt idx="3929">
                  <c:v>41892</c:v>
                </c:pt>
                <c:pt idx="3930">
                  <c:v>41893</c:v>
                </c:pt>
                <c:pt idx="3931">
                  <c:v>41894</c:v>
                </c:pt>
                <c:pt idx="3932">
                  <c:v>41897</c:v>
                </c:pt>
                <c:pt idx="3933">
                  <c:v>41898</c:v>
                </c:pt>
                <c:pt idx="3934">
                  <c:v>41899</c:v>
                </c:pt>
                <c:pt idx="3935">
                  <c:v>41900</c:v>
                </c:pt>
                <c:pt idx="3936">
                  <c:v>41901</c:v>
                </c:pt>
                <c:pt idx="3937">
                  <c:v>41904</c:v>
                </c:pt>
                <c:pt idx="3938">
                  <c:v>41905</c:v>
                </c:pt>
                <c:pt idx="3939">
                  <c:v>41906</c:v>
                </c:pt>
                <c:pt idx="3940">
                  <c:v>41907</c:v>
                </c:pt>
                <c:pt idx="3941">
                  <c:v>41908</c:v>
                </c:pt>
                <c:pt idx="3942">
                  <c:v>41911</c:v>
                </c:pt>
                <c:pt idx="3943">
                  <c:v>41912</c:v>
                </c:pt>
                <c:pt idx="3944">
                  <c:v>41913</c:v>
                </c:pt>
                <c:pt idx="3945">
                  <c:v>41914</c:v>
                </c:pt>
                <c:pt idx="3946">
                  <c:v>41915</c:v>
                </c:pt>
                <c:pt idx="3947">
                  <c:v>41918</c:v>
                </c:pt>
                <c:pt idx="3948">
                  <c:v>41919</c:v>
                </c:pt>
                <c:pt idx="3949">
                  <c:v>41920</c:v>
                </c:pt>
                <c:pt idx="3950">
                  <c:v>41921</c:v>
                </c:pt>
                <c:pt idx="3951">
                  <c:v>41922</c:v>
                </c:pt>
                <c:pt idx="3952">
                  <c:v>41925</c:v>
                </c:pt>
                <c:pt idx="3953">
                  <c:v>41926</c:v>
                </c:pt>
                <c:pt idx="3954">
                  <c:v>41927</c:v>
                </c:pt>
                <c:pt idx="3955">
                  <c:v>41928</c:v>
                </c:pt>
                <c:pt idx="3956">
                  <c:v>41929</c:v>
                </c:pt>
                <c:pt idx="3957">
                  <c:v>41932</c:v>
                </c:pt>
                <c:pt idx="3958">
                  <c:v>41933</c:v>
                </c:pt>
                <c:pt idx="3959">
                  <c:v>41934</c:v>
                </c:pt>
                <c:pt idx="3960">
                  <c:v>41935</c:v>
                </c:pt>
                <c:pt idx="3961">
                  <c:v>41936</c:v>
                </c:pt>
                <c:pt idx="3962">
                  <c:v>41939</c:v>
                </c:pt>
                <c:pt idx="3963">
                  <c:v>41940</c:v>
                </c:pt>
                <c:pt idx="3964">
                  <c:v>41941</c:v>
                </c:pt>
                <c:pt idx="3965">
                  <c:v>41942</c:v>
                </c:pt>
                <c:pt idx="3966">
                  <c:v>41943</c:v>
                </c:pt>
                <c:pt idx="3967">
                  <c:v>41946</c:v>
                </c:pt>
                <c:pt idx="3968">
                  <c:v>41947</c:v>
                </c:pt>
                <c:pt idx="3969">
                  <c:v>41948</c:v>
                </c:pt>
                <c:pt idx="3970">
                  <c:v>41949</c:v>
                </c:pt>
                <c:pt idx="3971">
                  <c:v>41950</c:v>
                </c:pt>
                <c:pt idx="3972">
                  <c:v>41953</c:v>
                </c:pt>
                <c:pt idx="3973">
                  <c:v>41954</c:v>
                </c:pt>
                <c:pt idx="3974">
                  <c:v>41955</c:v>
                </c:pt>
                <c:pt idx="3975">
                  <c:v>41956</c:v>
                </c:pt>
                <c:pt idx="3976">
                  <c:v>41957</c:v>
                </c:pt>
                <c:pt idx="3977">
                  <c:v>41960</c:v>
                </c:pt>
                <c:pt idx="3978">
                  <c:v>41961</c:v>
                </c:pt>
                <c:pt idx="3979">
                  <c:v>41962</c:v>
                </c:pt>
                <c:pt idx="3980">
                  <c:v>41963</c:v>
                </c:pt>
                <c:pt idx="3981">
                  <c:v>41964</c:v>
                </c:pt>
                <c:pt idx="3982">
                  <c:v>41967</c:v>
                </c:pt>
                <c:pt idx="3983">
                  <c:v>41968</c:v>
                </c:pt>
                <c:pt idx="3984">
                  <c:v>41969</c:v>
                </c:pt>
                <c:pt idx="3985">
                  <c:v>41970</c:v>
                </c:pt>
                <c:pt idx="3986">
                  <c:v>41971</c:v>
                </c:pt>
                <c:pt idx="3987">
                  <c:v>41974</c:v>
                </c:pt>
                <c:pt idx="3988">
                  <c:v>41975</c:v>
                </c:pt>
                <c:pt idx="3989">
                  <c:v>41976</c:v>
                </c:pt>
                <c:pt idx="3990">
                  <c:v>41977</c:v>
                </c:pt>
                <c:pt idx="3991">
                  <c:v>41978</c:v>
                </c:pt>
                <c:pt idx="3992">
                  <c:v>41981</c:v>
                </c:pt>
                <c:pt idx="3993">
                  <c:v>41982</c:v>
                </c:pt>
                <c:pt idx="3994">
                  <c:v>41983</c:v>
                </c:pt>
                <c:pt idx="3995">
                  <c:v>41984</c:v>
                </c:pt>
                <c:pt idx="3996">
                  <c:v>41985</c:v>
                </c:pt>
                <c:pt idx="3997">
                  <c:v>41988</c:v>
                </c:pt>
                <c:pt idx="3998">
                  <c:v>41989</c:v>
                </c:pt>
                <c:pt idx="3999">
                  <c:v>41990</c:v>
                </c:pt>
                <c:pt idx="4000">
                  <c:v>41991</c:v>
                </c:pt>
                <c:pt idx="4001">
                  <c:v>41992</c:v>
                </c:pt>
                <c:pt idx="4002">
                  <c:v>41995</c:v>
                </c:pt>
                <c:pt idx="4003">
                  <c:v>41996</c:v>
                </c:pt>
                <c:pt idx="4004">
                  <c:v>41997</c:v>
                </c:pt>
                <c:pt idx="4005">
                  <c:v>41998</c:v>
                </c:pt>
                <c:pt idx="4006">
                  <c:v>41999</c:v>
                </c:pt>
                <c:pt idx="4007">
                  <c:v>42002</c:v>
                </c:pt>
                <c:pt idx="4008">
                  <c:v>42003</c:v>
                </c:pt>
                <c:pt idx="4009">
                  <c:v>42004</c:v>
                </c:pt>
                <c:pt idx="4010">
                  <c:v>42005</c:v>
                </c:pt>
                <c:pt idx="4011">
                  <c:v>42006</c:v>
                </c:pt>
                <c:pt idx="4012">
                  <c:v>42009</c:v>
                </c:pt>
                <c:pt idx="4013">
                  <c:v>42010</c:v>
                </c:pt>
                <c:pt idx="4014">
                  <c:v>42011</c:v>
                </c:pt>
                <c:pt idx="4015">
                  <c:v>42012</c:v>
                </c:pt>
                <c:pt idx="4016">
                  <c:v>42013</c:v>
                </c:pt>
                <c:pt idx="4017">
                  <c:v>42016</c:v>
                </c:pt>
                <c:pt idx="4018">
                  <c:v>42017</c:v>
                </c:pt>
                <c:pt idx="4019">
                  <c:v>42018</c:v>
                </c:pt>
                <c:pt idx="4020">
                  <c:v>42019</c:v>
                </c:pt>
                <c:pt idx="4021">
                  <c:v>42020</c:v>
                </c:pt>
                <c:pt idx="4022">
                  <c:v>42023</c:v>
                </c:pt>
                <c:pt idx="4023">
                  <c:v>42024</c:v>
                </c:pt>
                <c:pt idx="4024">
                  <c:v>42025</c:v>
                </c:pt>
                <c:pt idx="4025">
                  <c:v>42026</c:v>
                </c:pt>
                <c:pt idx="4026">
                  <c:v>42027</c:v>
                </c:pt>
                <c:pt idx="4027">
                  <c:v>42030</c:v>
                </c:pt>
                <c:pt idx="4028">
                  <c:v>42031</c:v>
                </c:pt>
                <c:pt idx="4029">
                  <c:v>42032</c:v>
                </c:pt>
                <c:pt idx="4030">
                  <c:v>42033</c:v>
                </c:pt>
                <c:pt idx="4031">
                  <c:v>42034</c:v>
                </c:pt>
                <c:pt idx="4032">
                  <c:v>42037</c:v>
                </c:pt>
                <c:pt idx="4033">
                  <c:v>42038</c:v>
                </c:pt>
                <c:pt idx="4034">
                  <c:v>42039</c:v>
                </c:pt>
                <c:pt idx="4035">
                  <c:v>42040</c:v>
                </c:pt>
                <c:pt idx="4036">
                  <c:v>42041</c:v>
                </c:pt>
                <c:pt idx="4037">
                  <c:v>42044</c:v>
                </c:pt>
                <c:pt idx="4038">
                  <c:v>42045</c:v>
                </c:pt>
                <c:pt idx="4039">
                  <c:v>42046</c:v>
                </c:pt>
                <c:pt idx="4040">
                  <c:v>42047</c:v>
                </c:pt>
                <c:pt idx="4041">
                  <c:v>42048</c:v>
                </c:pt>
                <c:pt idx="4042">
                  <c:v>42051</c:v>
                </c:pt>
                <c:pt idx="4043">
                  <c:v>42052</c:v>
                </c:pt>
                <c:pt idx="4044">
                  <c:v>42053</c:v>
                </c:pt>
                <c:pt idx="4045">
                  <c:v>42054</c:v>
                </c:pt>
                <c:pt idx="4046">
                  <c:v>42055</c:v>
                </c:pt>
                <c:pt idx="4047">
                  <c:v>42058</c:v>
                </c:pt>
                <c:pt idx="4048">
                  <c:v>42059</c:v>
                </c:pt>
                <c:pt idx="4049">
                  <c:v>42060</c:v>
                </c:pt>
                <c:pt idx="4050">
                  <c:v>42061</c:v>
                </c:pt>
                <c:pt idx="4051">
                  <c:v>42062</c:v>
                </c:pt>
                <c:pt idx="4052">
                  <c:v>42065</c:v>
                </c:pt>
                <c:pt idx="4053">
                  <c:v>42066</c:v>
                </c:pt>
                <c:pt idx="4054">
                  <c:v>42067</c:v>
                </c:pt>
                <c:pt idx="4055">
                  <c:v>42068</c:v>
                </c:pt>
                <c:pt idx="4056">
                  <c:v>42069</c:v>
                </c:pt>
                <c:pt idx="4057">
                  <c:v>42072</c:v>
                </c:pt>
                <c:pt idx="4058">
                  <c:v>42073</c:v>
                </c:pt>
                <c:pt idx="4059">
                  <c:v>42074</c:v>
                </c:pt>
                <c:pt idx="4060">
                  <c:v>42075</c:v>
                </c:pt>
                <c:pt idx="4061">
                  <c:v>42076</c:v>
                </c:pt>
                <c:pt idx="4062">
                  <c:v>42079</c:v>
                </c:pt>
                <c:pt idx="4063">
                  <c:v>42080</c:v>
                </c:pt>
                <c:pt idx="4064">
                  <c:v>42081</c:v>
                </c:pt>
                <c:pt idx="4065">
                  <c:v>42082</c:v>
                </c:pt>
                <c:pt idx="4066">
                  <c:v>42083</c:v>
                </c:pt>
                <c:pt idx="4067">
                  <c:v>42086</c:v>
                </c:pt>
                <c:pt idx="4068">
                  <c:v>42087</c:v>
                </c:pt>
                <c:pt idx="4069">
                  <c:v>42088</c:v>
                </c:pt>
                <c:pt idx="4070">
                  <c:v>42089</c:v>
                </c:pt>
                <c:pt idx="4071">
                  <c:v>42090</c:v>
                </c:pt>
                <c:pt idx="4072">
                  <c:v>42093</c:v>
                </c:pt>
                <c:pt idx="4073">
                  <c:v>42094</c:v>
                </c:pt>
                <c:pt idx="4074">
                  <c:v>42095</c:v>
                </c:pt>
                <c:pt idx="4075">
                  <c:v>42096</c:v>
                </c:pt>
                <c:pt idx="4076">
                  <c:v>42097</c:v>
                </c:pt>
                <c:pt idx="4077">
                  <c:v>42100</c:v>
                </c:pt>
                <c:pt idx="4078">
                  <c:v>42101</c:v>
                </c:pt>
                <c:pt idx="4079">
                  <c:v>42102</c:v>
                </c:pt>
                <c:pt idx="4080">
                  <c:v>42103</c:v>
                </c:pt>
                <c:pt idx="4081">
                  <c:v>42104</c:v>
                </c:pt>
                <c:pt idx="4082">
                  <c:v>42107</c:v>
                </c:pt>
                <c:pt idx="4083">
                  <c:v>42108</c:v>
                </c:pt>
                <c:pt idx="4084">
                  <c:v>42109</c:v>
                </c:pt>
                <c:pt idx="4085">
                  <c:v>42110</c:v>
                </c:pt>
                <c:pt idx="4086">
                  <c:v>42111</c:v>
                </c:pt>
                <c:pt idx="4087">
                  <c:v>42114</c:v>
                </c:pt>
                <c:pt idx="4088">
                  <c:v>42115</c:v>
                </c:pt>
                <c:pt idx="4089">
                  <c:v>42116</c:v>
                </c:pt>
                <c:pt idx="4090">
                  <c:v>42117</c:v>
                </c:pt>
                <c:pt idx="4091">
                  <c:v>42118</c:v>
                </c:pt>
                <c:pt idx="4092">
                  <c:v>42121</c:v>
                </c:pt>
                <c:pt idx="4093">
                  <c:v>42122</c:v>
                </c:pt>
                <c:pt idx="4094">
                  <c:v>42123</c:v>
                </c:pt>
                <c:pt idx="4095">
                  <c:v>42124</c:v>
                </c:pt>
                <c:pt idx="4096">
                  <c:v>42125</c:v>
                </c:pt>
                <c:pt idx="4097">
                  <c:v>42128</c:v>
                </c:pt>
                <c:pt idx="4098">
                  <c:v>42129</c:v>
                </c:pt>
                <c:pt idx="4099">
                  <c:v>42130</c:v>
                </c:pt>
                <c:pt idx="4100">
                  <c:v>42131</c:v>
                </c:pt>
                <c:pt idx="4101">
                  <c:v>42132</c:v>
                </c:pt>
                <c:pt idx="4102">
                  <c:v>42135</c:v>
                </c:pt>
                <c:pt idx="4103">
                  <c:v>42136</c:v>
                </c:pt>
                <c:pt idx="4104">
                  <c:v>42137</c:v>
                </c:pt>
                <c:pt idx="4105">
                  <c:v>42138</c:v>
                </c:pt>
                <c:pt idx="4106">
                  <c:v>42139</c:v>
                </c:pt>
                <c:pt idx="4107">
                  <c:v>42142</c:v>
                </c:pt>
                <c:pt idx="4108">
                  <c:v>42143</c:v>
                </c:pt>
                <c:pt idx="4109">
                  <c:v>42144</c:v>
                </c:pt>
                <c:pt idx="4110">
                  <c:v>42145</c:v>
                </c:pt>
                <c:pt idx="4111">
                  <c:v>42146</c:v>
                </c:pt>
                <c:pt idx="4112">
                  <c:v>42149</c:v>
                </c:pt>
                <c:pt idx="4113">
                  <c:v>42150</c:v>
                </c:pt>
                <c:pt idx="4114">
                  <c:v>42151</c:v>
                </c:pt>
                <c:pt idx="4115">
                  <c:v>42152</c:v>
                </c:pt>
                <c:pt idx="4116">
                  <c:v>42153</c:v>
                </c:pt>
                <c:pt idx="4117">
                  <c:v>42156</c:v>
                </c:pt>
                <c:pt idx="4118">
                  <c:v>42157</c:v>
                </c:pt>
                <c:pt idx="4119">
                  <c:v>42158</c:v>
                </c:pt>
                <c:pt idx="4120">
                  <c:v>42159</c:v>
                </c:pt>
                <c:pt idx="4121">
                  <c:v>42160</c:v>
                </c:pt>
                <c:pt idx="4122">
                  <c:v>42163</c:v>
                </c:pt>
                <c:pt idx="4123">
                  <c:v>42164</c:v>
                </c:pt>
                <c:pt idx="4124">
                  <c:v>42165</c:v>
                </c:pt>
                <c:pt idx="4125">
                  <c:v>42166</c:v>
                </c:pt>
                <c:pt idx="4126">
                  <c:v>42167</c:v>
                </c:pt>
                <c:pt idx="4127">
                  <c:v>42170</c:v>
                </c:pt>
                <c:pt idx="4128">
                  <c:v>42171</c:v>
                </c:pt>
                <c:pt idx="4129">
                  <c:v>42172</c:v>
                </c:pt>
                <c:pt idx="4130">
                  <c:v>42173</c:v>
                </c:pt>
                <c:pt idx="4131">
                  <c:v>42174</c:v>
                </c:pt>
                <c:pt idx="4132">
                  <c:v>42177</c:v>
                </c:pt>
                <c:pt idx="4133">
                  <c:v>42178</c:v>
                </c:pt>
                <c:pt idx="4134">
                  <c:v>42179</c:v>
                </c:pt>
                <c:pt idx="4135">
                  <c:v>42180</c:v>
                </c:pt>
                <c:pt idx="4136">
                  <c:v>42181</c:v>
                </c:pt>
                <c:pt idx="4137">
                  <c:v>42184</c:v>
                </c:pt>
                <c:pt idx="4138">
                  <c:v>42185</c:v>
                </c:pt>
                <c:pt idx="4139">
                  <c:v>42186</c:v>
                </c:pt>
                <c:pt idx="4140">
                  <c:v>42187</c:v>
                </c:pt>
                <c:pt idx="4141">
                  <c:v>42188</c:v>
                </c:pt>
                <c:pt idx="4142">
                  <c:v>42191</c:v>
                </c:pt>
                <c:pt idx="4143">
                  <c:v>42192</c:v>
                </c:pt>
                <c:pt idx="4144">
                  <c:v>42193</c:v>
                </c:pt>
                <c:pt idx="4145">
                  <c:v>42194</c:v>
                </c:pt>
                <c:pt idx="4146">
                  <c:v>42195</c:v>
                </c:pt>
                <c:pt idx="4147">
                  <c:v>42198</c:v>
                </c:pt>
                <c:pt idx="4148">
                  <c:v>42199</c:v>
                </c:pt>
                <c:pt idx="4149">
                  <c:v>42200</c:v>
                </c:pt>
                <c:pt idx="4150">
                  <c:v>42201</c:v>
                </c:pt>
                <c:pt idx="4151">
                  <c:v>42202</c:v>
                </c:pt>
                <c:pt idx="4152">
                  <c:v>42205</c:v>
                </c:pt>
                <c:pt idx="4153">
                  <c:v>42206</c:v>
                </c:pt>
                <c:pt idx="4154">
                  <c:v>42207</c:v>
                </c:pt>
                <c:pt idx="4155">
                  <c:v>42208</c:v>
                </c:pt>
                <c:pt idx="4156">
                  <c:v>42209</c:v>
                </c:pt>
                <c:pt idx="4157">
                  <c:v>42212</c:v>
                </c:pt>
                <c:pt idx="4158">
                  <c:v>42213</c:v>
                </c:pt>
                <c:pt idx="4159">
                  <c:v>42214</c:v>
                </c:pt>
                <c:pt idx="4160">
                  <c:v>42215</c:v>
                </c:pt>
                <c:pt idx="4161">
                  <c:v>42216</c:v>
                </c:pt>
                <c:pt idx="4162">
                  <c:v>42219</c:v>
                </c:pt>
                <c:pt idx="4163">
                  <c:v>42220</c:v>
                </c:pt>
                <c:pt idx="4164">
                  <c:v>42221</c:v>
                </c:pt>
                <c:pt idx="4165">
                  <c:v>42222</c:v>
                </c:pt>
                <c:pt idx="4166">
                  <c:v>42223</c:v>
                </c:pt>
                <c:pt idx="4167">
                  <c:v>42226</c:v>
                </c:pt>
                <c:pt idx="4168">
                  <c:v>42227</c:v>
                </c:pt>
                <c:pt idx="4169">
                  <c:v>42228</c:v>
                </c:pt>
                <c:pt idx="4170">
                  <c:v>42229</c:v>
                </c:pt>
                <c:pt idx="4171">
                  <c:v>42230</c:v>
                </c:pt>
                <c:pt idx="4172">
                  <c:v>42233</c:v>
                </c:pt>
                <c:pt idx="4173">
                  <c:v>42234</c:v>
                </c:pt>
                <c:pt idx="4174">
                  <c:v>42235</c:v>
                </c:pt>
                <c:pt idx="4175">
                  <c:v>42236</c:v>
                </c:pt>
                <c:pt idx="4176">
                  <c:v>42237</c:v>
                </c:pt>
                <c:pt idx="4177">
                  <c:v>42240</c:v>
                </c:pt>
                <c:pt idx="4178">
                  <c:v>42241</c:v>
                </c:pt>
                <c:pt idx="4179">
                  <c:v>42242</c:v>
                </c:pt>
                <c:pt idx="4180">
                  <c:v>42243</c:v>
                </c:pt>
                <c:pt idx="4181">
                  <c:v>42244</c:v>
                </c:pt>
                <c:pt idx="4182">
                  <c:v>42247</c:v>
                </c:pt>
                <c:pt idx="4183">
                  <c:v>42248</c:v>
                </c:pt>
                <c:pt idx="4184">
                  <c:v>42249</c:v>
                </c:pt>
                <c:pt idx="4185">
                  <c:v>42250</c:v>
                </c:pt>
                <c:pt idx="4186">
                  <c:v>42251</c:v>
                </c:pt>
                <c:pt idx="4187">
                  <c:v>42254</c:v>
                </c:pt>
                <c:pt idx="4188">
                  <c:v>42255</c:v>
                </c:pt>
                <c:pt idx="4189">
                  <c:v>42256</c:v>
                </c:pt>
                <c:pt idx="4190">
                  <c:v>42257</c:v>
                </c:pt>
                <c:pt idx="4191">
                  <c:v>42258</c:v>
                </c:pt>
                <c:pt idx="4192">
                  <c:v>42261</c:v>
                </c:pt>
                <c:pt idx="4193">
                  <c:v>42262</c:v>
                </c:pt>
                <c:pt idx="4194">
                  <c:v>42263</c:v>
                </c:pt>
                <c:pt idx="4195">
                  <c:v>42264</c:v>
                </c:pt>
                <c:pt idx="4196">
                  <c:v>42265</c:v>
                </c:pt>
                <c:pt idx="4197">
                  <c:v>42268</c:v>
                </c:pt>
                <c:pt idx="4198">
                  <c:v>42269</c:v>
                </c:pt>
                <c:pt idx="4199">
                  <c:v>42270</c:v>
                </c:pt>
                <c:pt idx="4200">
                  <c:v>42271</c:v>
                </c:pt>
                <c:pt idx="4201">
                  <c:v>42272</c:v>
                </c:pt>
                <c:pt idx="4202">
                  <c:v>42275</c:v>
                </c:pt>
                <c:pt idx="4203">
                  <c:v>42276</c:v>
                </c:pt>
                <c:pt idx="4204">
                  <c:v>42277</c:v>
                </c:pt>
                <c:pt idx="4205">
                  <c:v>42278</c:v>
                </c:pt>
                <c:pt idx="4206">
                  <c:v>42279</c:v>
                </c:pt>
                <c:pt idx="4207">
                  <c:v>42282</c:v>
                </c:pt>
                <c:pt idx="4208">
                  <c:v>42283</c:v>
                </c:pt>
                <c:pt idx="4209">
                  <c:v>42284</c:v>
                </c:pt>
                <c:pt idx="4210">
                  <c:v>42285</c:v>
                </c:pt>
                <c:pt idx="4211">
                  <c:v>42286</c:v>
                </c:pt>
                <c:pt idx="4212">
                  <c:v>42289</c:v>
                </c:pt>
                <c:pt idx="4213">
                  <c:v>42290</c:v>
                </c:pt>
                <c:pt idx="4214">
                  <c:v>42291</c:v>
                </c:pt>
                <c:pt idx="4215">
                  <c:v>42292</c:v>
                </c:pt>
                <c:pt idx="4216">
                  <c:v>42293</c:v>
                </c:pt>
                <c:pt idx="4217">
                  <c:v>42296</c:v>
                </c:pt>
                <c:pt idx="4218">
                  <c:v>42297</c:v>
                </c:pt>
                <c:pt idx="4219">
                  <c:v>42298</c:v>
                </c:pt>
                <c:pt idx="4220">
                  <c:v>42299</c:v>
                </c:pt>
                <c:pt idx="4221">
                  <c:v>42300</c:v>
                </c:pt>
                <c:pt idx="4222">
                  <c:v>42303</c:v>
                </c:pt>
                <c:pt idx="4223">
                  <c:v>42304</c:v>
                </c:pt>
                <c:pt idx="4224">
                  <c:v>42305</c:v>
                </c:pt>
                <c:pt idx="4225">
                  <c:v>42306</c:v>
                </c:pt>
                <c:pt idx="4226">
                  <c:v>42307</c:v>
                </c:pt>
                <c:pt idx="4227">
                  <c:v>42310</c:v>
                </c:pt>
                <c:pt idx="4228">
                  <c:v>42311</c:v>
                </c:pt>
                <c:pt idx="4229">
                  <c:v>42312</c:v>
                </c:pt>
                <c:pt idx="4230">
                  <c:v>42313</c:v>
                </c:pt>
                <c:pt idx="4231">
                  <c:v>42314</c:v>
                </c:pt>
                <c:pt idx="4232">
                  <c:v>42317</c:v>
                </c:pt>
                <c:pt idx="4233">
                  <c:v>42318</c:v>
                </c:pt>
                <c:pt idx="4234">
                  <c:v>42319</c:v>
                </c:pt>
                <c:pt idx="4235">
                  <c:v>42320</c:v>
                </c:pt>
                <c:pt idx="4236">
                  <c:v>42321</c:v>
                </c:pt>
                <c:pt idx="4237">
                  <c:v>42324</c:v>
                </c:pt>
                <c:pt idx="4238">
                  <c:v>42325</c:v>
                </c:pt>
                <c:pt idx="4239">
                  <c:v>42326</c:v>
                </c:pt>
                <c:pt idx="4240">
                  <c:v>42327</c:v>
                </c:pt>
                <c:pt idx="4241">
                  <c:v>42328</c:v>
                </c:pt>
                <c:pt idx="4242">
                  <c:v>42331</c:v>
                </c:pt>
                <c:pt idx="4243">
                  <c:v>42332</c:v>
                </c:pt>
                <c:pt idx="4244">
                  <c:v>42333</c:v>
                </c:pt>
                <c:pt idx="4245">
                  <c:v>42334</c:v>
                </c:pt>
                <c:pt idx="4246">
                  <c:v>42335</c:v>
                </c:pt>
                <c:pt idx="4247">
                  <c:v>42338</c:v>
                </c:pt>
                <c:pt idx="4248">
                  <c:v>42339</c:v>
                </c:pt>
                <c:pt idx="4249">
                  <c:v>42340</c:v>
                </c:pt>
                <c:pt idx="4250">
                  <c:v>42341</c:v>
                </c:pt>
                <c:pt idx="4251">
                  <c:v>42342</c:v>
                </c:pt>
                <c:pt idx="4252">
                  <c:v>42345</c:v>
                </c:pt>
                <c:pt idx="4253">
                  <c:v>42346</c:v>
                </c:pt>
                <c:pt idx="4254">
                  <c:v>42347</c:v>
                </c:pt>
                <c:pt idx="4255">
                  <c:v>42348</c:v>
                </c:pt>
                <c:pt idx="4256">
                  <c:v>42349</c:v>
                </c:pt>
                <c:pt idx="4257">
                  <c:v>42352</c:v>
                </c:pt>
                <c:pt idx="4258">
                  <c:v>42353</c:v>
                </c:pt>
                <c:pt idx="4259">
                  <c:v>42354</c:v>
                </c:pt>
                <c:pt idx="4260">
                  <c:v>42355</c:v>
                </c:pt>
                <c:pt idx="4261">
                  <c:v>42356</c:v>
                </c:pt>
                <c:pt idx="4262">
                  <c:v>42359</c:v>
                </c:pt>
                <c:pt idx="4263">
                  <c:v>42360</c:v>
                </c:pt>
                <c:pt idx="4264">
                  <c:v>42361</c:v>
                </c:pt>
                <c:pt idx="4265">
                  <c:v>42362</c:v>
                </c:pt>
                <c:pt idx="4266">
                  <c:v>42363</c:v>
                </c:pt>
                <c:pt idx="4267">
                  <c:v>42366</c:v>
                </c:pt>
                <c:pt idx="4268">
                  <c:v>42367</c:v>
                </c:pt>
                <c:pt idx="4269">
                  <c:v>42368</c:v>
                </c:pt>
                <c:pt idx="4270">
                  <c:v>42369</c:v>
                </c:pt>
                <c:pt idx="4271">
                  <c:v>42370</c:v>
                </c:pt>
                <c:pt idx="4272">
                  <c:v>42373</c:v>
                </c:pt>
                <c:pt idx="4273">
                  <c:v>42374</c:v>
                </c:pt>
                <c:pt idx="4274">
                  <c:v>42375</c:v>
                </c:pt>
                <c:pt idx="4275">
                  <c:v>42376</c:v>
                </c:pt>
                <c:pt idx="4276">
                  <c:v>42377</c:v>
                </c:pt>
                <c:pt idx="4277">
                  <c:v>42380</c:v>
                </c:pt>
                <c:pt idx="4278">
                  <c:v>42381</c:v>
                </c:pt>
                <c:pt idx="4279">
                  <c:v>42382</c:v>
                </c:pt>
                <c:pt idx="4280">
                  <c:v>42383</c:v>
                </c:pt>
                <c:pt idx="4281">
                  <c:v>42384</c:v>
                </c:pt>
                <c:pt idx="4282">
                  <c:v>42387</c:v>
                </c:pt>
                <c:pt idx="4283">
                  <c:v>42388</c:v>
                </c:pt>
                <c:pt idx="4284">
                  <c:v>42389</c:v>
                </c:pt>
                <c:pt idx="4285">
                  <c:v>42390</c:v>
                </c:pt>
                <c:pt idx="4286">
                  <c:v>42391</c:v>
                </c:pt>
                <c:pt idx="4287">
                  <c:v>42394</c:v>
                </c:pt>
                <c:pt idx="4288">
                  <c:v>42395</c:v>
                </c:pt>
                <c:pt idx="4289">
                  <c:v>42396</c:v>
                </c:pt>
                <c:pt idx="4290">
                  <c:v>42397</c:v>
                </c:pt>
                <c:pt idx="4291">
                  <c:v>42398</c:v>
                </c:pt>
                <c:pt idx="4292">
                  <c:v>42401</c:v>
                </c:pt>
                <c:pt idx="4293">
                  <c:v>42402</c:v>
                </c:pt>
                <c:pt idx="4294">
                  <c:v>42403</c:v>
                </c:pt>
                <c:pt idx="4295">
                  <c:v>42404</c:v>
                </c:pt>
                <c:pt idx="4296">
                  <c:v>42405</c:v>
                </c:pt>
                <c:pt idx="4297">
                  <c:v>42408</c:v>
                </c:pt>
                <c:pt idx="4298">
                  <c:v>42409</c:v>
                </c:pt>
                <c:pt idx="4299">
                  <c:v>42410</c:v>
                </c:pt>
                <c:pt idx="4300">
                  <c:v>42411</c:v>
                </c:pt>
                <c:pt idx="4301">
                  <c:v>42412</c:v>
                </c:pt>
                <c:pt idx="4302">
                  <c:v>42415</c:v>
                </c:pt>
                <c:pt idx="4303">
                  <c:v>42416</c:v>
                </c:pt>
                <c:pt idx="4304">
                  <c:v>42417</c:v>
                </c:pt>
                <c:pt idx="4305">
                  <c:v>42418</c:v>
                </c:pt>
                <c:pt idx="4306">
                  <c:v>42419</c:v>
                </c:pt>
                <c:pt idx="4307">
                  <c:v>42422</c:v>
                </c:pt>
                <c:pt idx="4308">
                  <c:v>42423</c:v>
                </c:pt>
                <c:pt idx="4309">
                  <c:v>42424</c:v>
                </c:pt>
                <c:pt idx="4310">
                  <c:v>42425</c:v>
                </c:pt>
                <c:pt idx="4311">
                  <c:v>42426</c:v>
                </c:pt>
                <c:pt idx="4312">
                  <c:v>42429</c:v>
                </c:pt>
                <c:pt idx="4313">
                  <c:v>42430</c:v>
                </c:pt>
                <c:pt idx="4314">
                  <c:v>42431</c:v>
                </c:pt>
                <c:pt idx="4315">
                  <c:v>42432</c:v>
                </c:pt>
                <c:pt idx="4316">
                  <c:v>42433</c:v>
                </c:pt>
                <c:pt idx="4317">
                  <c:v>42436</c:v>
                </c:pt>
                <c:pt idx="4318">
                  <c:v>42437</c:v>
                </c:pt>
                <c:pt idx="4319">
                  <c:v>42438</c:v>
                </c:pt>
                <c:pt idx="4320">
                  <c:v>42439</c:v>
                </c:pt>
                <c:pt idx="4321">
                  <c:v>42440</c:v>
                </c:pt>
                <c:pt idx="4322">
                  <c:v>42443</c:v>
                </c:pt>
                <c:pt idx="4323">
                  <c:v>42444</c:v>
                </c:pt>
                <c:pt idx="4324">
                  <c:v>42445</c:v>
                </c:pt>
                <c:pt idx="4325">
                  <c:v>42446</c:v>
                </c:pt>
                <c:pt idx="4326">
                  <c:v>42447</c:v>
                </c:pt>
                <c:pt idx="4327">
                  <c:v>42450</c:v>
                </c:pt>
                <c:pt idx="4328">
                  <c:v>42451</c:v>
                </c:pt>
                <c:pt idx="4329">
                  <c:v>42452</c:v>
                </c:pt>
                <c:pt idx="4330">
                  <c:v>42453</c:v>
                </c:pt>
                <c:pt idx="4331">
                  <c:v>42454</c:v>
                </c:pt>
                <c:pt idx="4332">
                  <c:v>42457</c:v>
                </c:pt>
                <c:pt idx="4333">
                  <c:v>42458</c:v>
                </c:pt>
                <c:pt idx="4334">
                  <c:v>42459</c:v>
                </c:pt>
                <c:pt idx="4335">
                  <c:v>42460</c:v>
                </c:pt>
                <c:pt idx="4336">
                  <c:v>42461</c:v>
                </c:pt>
                <c:pt idx="4337">
                  <c:v>42464</c:v>
                </c:pt>
                <c:pt idx="4338">
                  <c:v>42465</c:v>
                </c:pt>
                <c:pt idx="4339">
                  <c:v>42466</c:v>
                </c:pt>
                <c:pt idx="4340">
                  <c:v>42467</c:v>
                </c:pt>
                <c:pt idx="4341">
                  <c:v>42468</c:v>
                </c:pt>
                <c:pt idx="4342">
                  <c:v>42471</c:v>
                </c:pt>
                <c:pt idx="4343">
                  <c:v>42472</c:v>
                </c:pt>
                <c:pt idx="4344">
                  <c:v>42473</c:v>
                </c:pt>
                <c:pt idx="4345">
                  <c:v>42474</c:v>
                </c:pt>
                <c:pt idx="4346">
                  <c:v>42475</c:v>
                </c:pt>
                <c:pt idx="4347">
                  <c:v>42478</c:v>
                </c:pt>
                <c:pt idx="4348">
                  <c:v>42479</c:v>
                </c:pt>
                <c:pt idx="4349">
                  <c:v>42480</c:v>
                </c:pt>
                <c:pt idx="4350">
                  <c:v>42481</c:v>
                </c:pt>
                <c:pt idx="4351">
                  <c:v>42482</c:v>
                </c:pt>
                <c:pt idx="4352">
                  <c:v>42485</c:v>
                </c:pt>
                <c:pt idx="4353">
                  <c:v>42486</c:v>
                </c:pt>
                <c:pt idx="4354">
                  <c:v>42487</c:v>
                </c:pt>
                <c:pt idx="4355">
                  <c:v>42488</c:v>
                </c:pt>
                <c:pt idx="4356">
                  <c:v>42489</c:v>
                </c:pt>
                <c:pt idx="4357">
                  <c:v>42492</c:v>
                </c:pt>
                <c:pt idx="4358">
                  <c:v>42493</c:v>
                </c:pt>
                <c:pt idx="4359">
                  <c:v>42494</c:v>
                </c:pt>
                <c:pt idx="4360">
                  <c:v>42495</c:v>
                </c:pt>
                <c:pt idx="4361">
                  <c:v>42496</c:v>
                </c:pt>
                <c:pt idx="4362">
                  <c:v>42499</c:v>
                </c:pt>
                <c:pt idx="4363">
                  <c:v>42500</c:v>
                </c:pt>
                <c:pt idx="4364">
                  <c:v>42501</c:v>
                </c:pt>
                <c:pt idx="4365">
                  <c:v>42502</c:v>
                </c:pt>
                <c:pt idx="4366">
                  <c:v>42503</c:v>
                </c:pt>
                <c:pt idx="4367">
                  <c:v>42506</c:v>
                </c:pt>
                <c:pt idx="4368">
                  <c:v>42507</c:v>
                </c:pt>
                <c:pt idx="4369">
                  <c:v>42508</c:v>
                </c:pt>
                <c:pt idx="4370">
                  <c:v>42509</c:v>
                </c:pt>
                <c:pt idx="4371">
                  <c:v>42510</c:v>
                </c:pt>
                <c:pt idx="4372">
                  <c:v>42513</c:v>
                </c:pt>
                <c:pt idx="4373">
                  <c:v>42514</c:v>
                </c:pt>
                <c:pt idx="4374">
                  <c:v>42515</c:v>
                </c:pt>
                <c:pt idx="4375">
                  <c:v>42516</c:v>
                </c:pt>
                <c:pt idx="4376">
                  <c:v>42517</c:v>
                </c:pt>
                <c:pt idx="4377">
                  <c:v>42520</c:v>
                </c:pt>
                <c:pt idx="4378">
                  <c:v>42521</c:v>
                </c:pt>
                <c:pt idx="4379">
                  <c:v>42522</c:v>
                </c:pt>
                <c:pt idx="4380">
                  <c:v>42523</c:v>
                </c:pt>
                <c:pt idx="4381">
                  <c:v>42524</c:v>
                </c:pt>
                <c:pt idx="4382">
                  <c:v>42527</c:v>
                </c:pt>
                <c:pt idx="4383">
                  <c:v>42528</c:v>
                </c:pt>
                <c:pt idx="4384">
                  <c:v>42529</c:v>
                </c:pt>
                <c:pt idx="4385">
                  <c:v>42530</c:v>
                </c:pt>
                <c:pt idx="4386">
                  <c:v>42531</c:v>
                </c:pt>
                <c:pt idx="4387">
                  <c:v>42534</c:v>
                </c:pt>
                <c:pt idx="4388">
                  <c:v>42535</c:v>
                </c:pt>
                <c:pt idx="4389">
                  <c:v>42536</c:v>
                </c:pt>
                <c:pt idx="4390">
                  <c:v>42537</c:v>
                </c:pt>
                <c:pt idx="4391">
                  <c:v>42538</c:v>
                </c:pt>
                <c:pt idx="4392">
                  <c:v>42541</c:v>
                </c:pt>
                <c:pt idx="4393">
                  <c:v>42542</c:v>
                </c:pt>
                <c:pt idx="4394">
                  <c:v>42543</c:v>
                </c:pt>
                <c:pt idx="4395">
                  <c:v>42544</c:v>
                </c:pt>
                <c:pt idx="4396">
                  <c:v>42545</c:v>
                </c:pt>
                <c:pt idx="4397">
                  <c:v>42548</c:v>
                </c:pt>
                <c:pt idx="4398">
                  <c:v>42549</c:v>
                </c:pt>
                <c:pt idx="4399">
                  <c:v>42550</c:v>
                </c:pt>
                <c:pt idx="4400">
                  <c:v>42551</c:v>
                </c:pt>
                <c:pt idx="4401">
                  <c:v>42552</c:v>
                </c:pt>
                <c:pt idx="4402">
                  <c:v>42555</c:v>
                </c:pt>
                <c:pt idx="4403">
                  <c:v>42556</c:v>
                </c:pt>
                <c:pt idx="4404">
                  <c:v>42557</c:v>
                </c:pt>
                <c:pt idx="4405">
                  <c:v>42558</c:v>
                </c:pt>
                <c:pt idx="4406">
                  <c:v>42559</c:v>
                </c:pt>
                <c:pt idx="4407">
                  <c:v>42562</c:v>
                </c:pt>
                <c:pt idx="4408">
                  <c:v>42563</c:v>
                </c:pt>
                <c:pt idx="4409">
                  <c:v>42564</c:v>
                </c:pt>
                <c:pt idx="4410">
                  <c:v>42565</c:v>
                </c:pt>
                <c:pt idx="4411">
                  <c:v>42566</c:v>
                </c:pt>
                <c:pt idx="4412">
                  <c:v>42569</c:v>
                </c:pt>
                <c:pt idx="4413">
                  <c:v>42570</c:v>
                </c:pt>
                <c:pt idx="4414">
                  <c:v>42571</c:v>
                </c:pt>
                <c:pt idx="4415">
                  <c:v>42572</c:v>
                </c:pt>
                <c:pt idx="4416">
                  <c:v>42573</c:v>
                </c:pt>
                <c:pt idx="4417">
                  <c:v>42576</c:v>
                </c:pt>
                <c:pt idx="4418">
                  <c:v>42577</c:v>
                </c:pt>
                <c:pt idx="4419">
                  <c:v>42578</c:v>
                </c:pt>
                <c:pt idx="4420">
                  <c:v>42579</c:v>
                </c:pt>
                <c:pt idx="4421">
                  <c:v>42580</c:v>
                </c:pt>
                <c:pt idx="4422">
                  <c:v>42583</c:v>
                </c:pt>
                <c:pt idx="4423">
                  <c:v>42584</c:v>
                </c:pt>
                <c:pt idx="4424">
                  <c:v>42585</c:v>
                </c:pt>
                <c:pt idx="4425">
                  <c:v>42586</c:v>
                </c:pt>
                <c:pt idx="4426">
                  <c:v>42587</c:v>
                </c:pt>
                <c:pt idx="4427">
                  <c:v>42590</c:v>
                </c:pt>
                <c:pt idx="4428">
                  <c:v>42591</c:v>
                </c:pt>
                <c:pt idx="4429">
                  <c:v>42592</c:v>
                </c:pt>
                <c:pt idx="4430">
                  <c:v>42593</c:v>
                </c:pt>
                <c:pt idx="4431">
                  <c:v>42594</c:v>
                </c:pt>
                <c:pt idx="4432">
                  <c:v>42597</c:v>
                </c:pt>
                <c:pt idx="4433">
                  <c:v>42598</c:v>
                </c:pt>
                <c:pt idx="4434">
                  <c:v>42599</c:v>
                </c:pt>
                <c:pt idx="4435">
                  <c:v>42600</c:v>
                </c:pt>
                <c:pt idx="4436">
                  <c:v>42601</c:v>
                </c:pt>
                <c:pt idx="4437">
                  <c:v>42604</c:v>
                </c:pt>
                <c:pt idx="4438">
                  <c:v>42605</c:v>
                </c:pt>
                <c:pt idx="4439">
                  <c:v>42606</c:v>
                </c:pt>
                <c:pt idx="4440">
                  <c:v>42607</c:v>
                </c:pt>
                <c:pt idx="4441">
                  <c:v>42608</c:v>
                </c:pt>
                <c:pt idx="4442">
                  <c:v>42611</c:v>
                </c:pt>
                <c:pt idx="4443">
                  <c:v>42612</c:v>
                </c:pt>
                <c:pt idx="4444">
                  <c:v>42613</c:v>
                </c:pt>
                <c:pt idx="4445">
                  <c:v>42614</c:v>
                </c:pt>
                <c:pt idx="4446">
                  <c:v>42615</c:v>
                </c:pt>
                <c:pt idx="4447">
                  <c:v>42618</c:v>
                </c:pt>
                <c:pt idx="4448">
                  <c:v>42619</c:v>
                </c:pt>
                <c:pt idx="4449">
                  <c:v>42620</c:v>
                </c:pt>
                <c:pt idx="4450">
                  <c:v>42621</c:v>
                </c:pt>
                <c:pt idx="4451">
                  <c:v>42622</c:v>
                </c:pt>
                <c:pt idx="4452">
                  <c:v>42625</c:v>
                </c:pt>
                <c:pt idx="4453">
                  <c:v>42626</c:v>
                </c:pt>
                <c:pt idx="4454">
                  <c:v>42627</c:v>
                </c:pt>
                <c:pt idx="4455">
                  <c:v>42628</c:v>
                </c:pt>
                <c:pt idx="4456">
                  <c:v>42629</c:v>
                </c:pt>
                <c:pt idx="4457">
                  <c:v>42632</c:v>
                </c:pt>
                <c:pt idx="4458">
                  <c:v>42633</c:v>
                </c:pt>
                <c:pt idx="4459">
                  <c:v>42634</c:v>
                </c:pt>
                <c:pt idx="4460">
                  <c:v>42635</c:v>
                </c:pt>
                <c:pt idx="4461">
                  <c:v>42636</c:v>
                </c:pt>
                <c:pt idx="4462">
                  <c:v>42639</c:v>
                </c:pt>
                <c:pt idx="4463">
                  <c:v>42640</c:v>
                </c:pt>
                <c:pt idx="4464">
                  <c:v>42641</c:v>
                </c:pt>
                <c:pt idx="4465">
                  <c:v>42642</c:v>
                </c:pt>
                <c:pt idx="4466">
                  <c:v>42643</c:v>
                </c:pt>
                <c:pt idx="4467">
                  <c:v>42646</c:v>
                </c:pt>
                <c:pt idx="4468">
                  <c:v>42647</c:v>
                </c:pt>
                <c:pt idx="4469">
                  <c:v>42648</c:v>
                </c:pt>
                <c:pt idx="4470">
                  <c:v>42649</c:v>
                </c:pt>
                <c:pt idx="4471">
                  <c:v>42650</c:v>
                </c:pt>
                <c:pt idx="4472">
                  <c:v>42653</c:v>
                </c:pt>
                <c:pt idx="4473">
                  <c:v>42654</c:v>
                </c:pt>
                <c:pt idx="4474">
                  <c:v>42655</c:v>
                </c:pt>
                <c:pt idx="4475">
                  <c:v>42656</c:v>
                </c:pt>
                <c:pt idx="4476">
                  <c:v>42657</c:v>
                </c:pt>
                <c:pt idx="4477">
                  <c:v>42660</c:v>
                </c:pt>
                <c:pt idx="4478">
                  <c:v>42661</c:v>
                </c:pt>
                <c:pt idx="4479">
                  <c:v>42662</c:v>
                </c:pt>
                <c:pt idx="4480">
                  <c:v>42663</c:v>
                </c:pt>
                <c:pt idx="4481">
                  <c:v>42664</c:v>
                </c:pt>
                <c:pt idx="4482">
                  <c:v>42667</c:v>
                </c:pt>
                <c:pt idx="4483">
                  <c:v>42668</c:v>
                </c:pt>
                <c:pt idx="4484">
                  <c:v>42669</c:v>
                </c:pt>
                <c:pt idx="4485">
                  <c:v>42670</c:v>
                </c:pt>
                <c:pt idx="4486">
                  <c:v>42671</c:v>
                </c:pt>
                <c:pt idx="4487">
                  <c:v>42674</c:v>
                </c:pt>
                <c:pt idx="4488">
                  <c:v>42675</c:v>
                </c:pt>
                <c:pt idx="4489">
                  <c:v>42676</c:v>
                </c:pt>
                <c:pt idx="4490">
                  <c:v>42677</c:v>
                </c:pt>
                <c:pt idx="4491">
                  <c:v>42678</c:v>
                </c:pt>
                <c:pt idx="4492">
                  <c:v>42681</c:v>
                </c:pt>
                <c:pt idx="4493">
                  <c:v>42682</c:v>
                </c:pt>
                <c:pt idx="4494">
                  <c:v>42683</c:v>
                </c:pt>
                <c:pt idx="4495">
                  <c:v>42684</c:v>
                </c:pt>
                <c:pt idx="4496">
                  <c:v>42685</c:v>
                </c:pt>
                <c:pt idx="4497">
                  <c:v>42688</c:v>
                </c:pt>
                <c:pt idx="4498">
                  <c:v>42689</c:v>
                </c:pt>
                <c:pt idx="4499">
                  <c:v>42690</c:v>
                </c:pt>
                <c:pt idx="4500">
                  <c:v>42691</c:v>
                </c:pt>
                <c:pt idx="4501">
                  <c:v>42692</c:v>
                </c:pt>
                <c:pt idx="4502">
                  <c:v>42695</c:v>
                </c:pt>
                <c:pt idx="4503">
                  <c:v>42696</c:v>
                </c:pt>
                <c:pt idx="4504">
                  <c:v>42697</c:v>
                </c:pt>
                <c:pt idx="4505">
                  <c:v>42698</c:v>
                </c:pt>
                <c:pt idx="4506">
                  <c:v>42699</c:v>
                </c:pt>
                <c:pt idx="4507">
                  <c:v>42702</c:v>
                </c:pt>
                <c:pt idx="4508">
                  <c:v>42703</c:v>
                </c:pt>
                <c:pt idx="4509">
                  <c:v>42704</c:v>
                </c:pt>
                <c:pt idx="4510">
                  <c:v>42705</c:v>
                </c:pt>
                <c:pt idx="4511">
                  <c:v>42706</c:v>
                </c:pt>
                <c:pt idx="4512">
                  <c:v>42709</c:v>
                </c:pt>
                <c:pt idx="4513">
                  <c:v>42710</c:v>
                </c:pt>
                <c:pt idx="4514">
                  <c:v>42711</c:v>
                </c:pt>
                <c:pt idx="4515">
                  <c:v>42712</c:v>
                </c:pt>
                <c:pt idx="4516">
                  <c:v>42713</c:v>
                </c:pt>
                <c:pt idx="4517">
                  <c:v>42716</c:v>
                </c:pt>
                <c:pt idx="4518">
                  <c:v>42717</c:v>
                </c:pt>
                <c:pt idx="4519">
                  <c:v>42718</c:v>
                </c:pt>
                <c:pt idx="4520">
                  <c:v>42719</c:v>
                </c:pt>
                <c:pt idx="4521">
                  <c:v>42720</c:v>
                </c:pt>
                <c:pt idx="4522">
                  <c:v>42723</c:v>
                </c:pt>
                <c:pt idx="4523">
                  <c:v>42724</c:v>
                </c:pt>
                <c:pt idx="4524">
                  <c:v>42725</c:v>
                </c:pt>
                <c:pt idx="4525">
                  <c:v>42726</c:v>
                </c:pt>
                <c:pt idx="4526">
                  <c:v>42727</c:v>
                </c:pt>
                <c:pt idx="4527">
                  <c:v>42730</c:v>
                </c:pt>
                <c:pt idx="4528">
                  <c:v>42731</c:v>
                </c:pt>
                <c:pt idx="4529">
                  <c:v>42732</c:v>
                </c:pt>
                <c:pt idx="4530">
                  <c:v>42733</c:v>
                </c:pt>
                <c:pt idx="4531">
                  <c:v>42734</c:v>
                </c:pt>
                <c:pt idx="4532">
                  <c:v>42737</c:v>
                </c:pt>
                <c:pt idx="4533">
                  <c:v>42738</c:v>
                </c:pt>
                <c:pt idx="4534">
                  <c:v>42739</c:v>
                </c:pt>
                <c:pt idx="4535">
                  <c:v>42740</c:v>
                </c:pt>
                <c:pt idx="4536">
                  <c:v>42741</c:v>
                </c:pt>
                <c:pt idx="4537">
                  <c:v>42744</c:v>
                </c:pt>
                <c:pt idx="4538">
                  <c:v>42745</c:v>
                </c:pt>
                <c:pt idx="4539">
                  <c:v>42746</c:v>
                </c:pt>
                <c:pt idx="4540">
                  <c:v>42747</c:v>
                </c:pt>
                <c:pt idx="4541">
                  <c:v>42748</c:v>
                </c:pt>
                <c:pt idx="4542">
                  <c:v>42751</c:v>
                </c:pt>
                <c:pt idx="4543">
                  <c:v>42752</c:v>
                </c:pt>
                <c:pt idx="4544">
                  <c:v>42753</c:v>
                </c:pt>
                <c:pt idx="4545">
                  <c:v>42754</c:v>
                </c:pt>
                <c:pt idx="4546">
                  <c:v>42755</c:v>
                </c:pt>
                <c:pt idx="4547">
                  <c:v>42758</c:v>
                </c:pt>
                <c:pt idx="4548">
                  <c:v>42759</c:v>
                </c:pt>
                <c:pt idx="4549">
                  <c:v>42760</c:v>
                </c:pt>
                <c:pt idx="4550">
                  <c:v>42761</c:v>
                </c:pt>
                <c:pt idx="4551">
                  <c:v>42762</c:v>
                </c:pt>
                <c:pt idx="4552">
                  <c:v>42765</c:v>
                </c:pt>
                <c:pt idx="4553">
                  <c:v>42766</c:v>
                </c:pt>
                <c:pt idx="4554">
                  <c:v>42767</c:v>
                </c:pt>
                <c:pt idx="4555">
                  <c:v>42768</c:v>
                </c:pt>
                <c:pt idx="4556">
                  <c:v>42769</c:v>
                </c:pt>
                <c:pt idx="4557">
                  <c:v>42772</c:v>
                </c:pt>
                <c:pt idx="4558">
                  <c:v>42773</c:v>
                </c:pt>
                <c:pt idx="4559">
                  <c:v>42774</c:v>
                </c:pt>
                <c:pt idx="4560">
                  <c:v>42775</c:v>
                </c:pt>
                <c:pt idx="4561">
                  <c:v>42776</c:v>
                </c:pt>
                <c:pt idx="4562">
                  <c:v>42779</c:v>
                </c:pt>
                <c:pt idx="4563">
                  <c:v>42780</c:v>
                </c:pt>
                <c:pt idx="4564">
                  <c:v>42781</c:v>
                </c:pt>
                <c:pt idx="4565">
                  <c:v>42782</c:v>
                </c:pt>
                <c:pt idx="4566">
                  <c:v>42783</c:v>
                </c:pt>
                <c:pt idx="4567">
                  <c:v>42786</c:v>
                </c:pt>
                <c:pt idx="4568">
                  <c:v>42787</c:v>
                </c:pt>
                <c:pt idx="4569">
                  <c:v>42788</c:v>
                </c:pt>
                <c:pt idx="4570">
                  <c:v>42789</c:v>
                </c:pt>
                <c:pt idx="4571">
                  <c:v>42790</c:v>
                </c:pt>
                <c:pt idx="4572">
                  <c:v>42793</c:v>
                </c:pt>
                <c:pt idx="4573">
                  <c:v>42794</c:v>
                </c:pt>
                <c:pt idx="4574">
                  <c:v>42795</c:v>
                </c:pt>
                <c:pt idx="4575">
                  <c:v>42796</c:v>
                </c:pt>
                <c:pt idx="4576">
                  <c:v>42797</c:v>
                </c:pt>
                <c:pt idx="4577">
                  <c:v>42800</c:v>
                </c:pt>
                <c:pt idx="4578">
                  <c:v>42801</c:v>
                </c:pt>
                <c:pt idx="4579">
                  <c:v>42802</c:v>
                </c:pt>
                <c:pt idx="4580">
                  <c:v>42803</c:v>
                </c:pt>
                <c:pt idx="4581">
                  <c:v>42804</c:v>
                </c:pt>
                <c:pt idx="4582">
                  <c:v>42807</c:v>
                </c:pt>
                <c:pt idx="4583">
                  <c:v>42808</c:v>
                </c:pt>
                <c:pt idx="4584">
                  <c:v>42809</c:v>
                </c:pt>
                <c:pt idx="4585">
                  <c:v>42810</c:v>
                </c:pt>
                <c:pt idx="4586">
                  <c:v>42811</c:v>
                </c:pt>
                <c:pt idx="4587">
                  <c:v>42814</c:v>
                </c:pt>
                <c:pt idx="4588">
                  <c:v>42815</c:v>
                </c:pt>
                <c:pt idx="4589">
                  <c:v>42816</c:v>
                </c:pt>
                <c:pt idx="4590">
                  <c:v>42817</c:v>
                </c:pt>
                <c:pt idx="4591">
                  <c:v>42818</c:v>
                </c:pt>
                <c:pt idx="4592">
                  <c:v>42821</c:v>
                </c:pt>
                <c:pt idx="4593">
                  <c:v>42822</c:v>
                </c:pt>
                <c:pt idx="4594">
                  <c:v>42823</c:v>
                </c:pt>
                <c:pt idx="4595">
                  <c:v>42824</c:v>
                </c:pt>
                <c:pt idx="4596">
                  <c:v>42825</c:v>
                </c:pt>
                <c:pt idx="4597">
                  <c:v>42828</c:v>
                </c:pt>
                <c:pt idx="4598">
                  <c:v>42829</c:v>
                </c:pt>
                <c:pt idx="4599">
                  <c:v>42830</c:v>
                </c:pt>
                <c:pt idx="4600">
                  <c:v>42831</c:v>
                </c:pt>
                <c:pt idx="4601">
                  <c:v>42832</c:v>
                </c:pt>
                <c:pt idx="4602">
                  <c:v>42835</c:v>
                </c:pt>
                <c:pt idx="4603">
                  <c:v>42836</c:v>
                </c:pt>
                <c:pt idx="4604">
                  <c:v>42837</c:v>
                </c:pt>
                <c:pt idx="4605">
                  <c:v>42838</c:v>
                </c:pt>
                <c:pt idx="4606">
                  <c:v>42839</c:v>
                </c:pt>
                <c:pt idx="4607">
                  <c:v>42842</c:v>
                </c:pt>
                <c:pt idx="4608">
                  <c:v>42843</c:v>
                </c:pt>
                <c:pt idx="4609">
                  <c:v>42844</c:v>
                </c:pt>
                <c:pt idx="4610">
                  <c:v>42845</c:v>
                </c:pt>
                <c:pt idx="4611">
                  <c:v>42846</c:v>
                </c:pt>
                <c:pt idx="4612">
                  <c:v>42849</c:v>
                </c:pt>
                <c:pt idx="4613">
                  <c:v>42850</c:v>
                </c:pt>
                <c:pt idx="4614">
                  <c:v>42851</c:v>
                </c:pt>
                <c:pt idx="4615">
                  <c:v>42852</c:v>
                </c:pt>
                <c:pt idx="4616">
                  <c:v>42853</c:v>
                </c:pt>
                <c:pt idx="4617">
                  <c:v>42856</c:v>
                </c:pt>
                <c:pt idx="4618">
                  <c:v>42857</c:v>
                </c:pt>
                <c:pt idx="4619">
                  <c:v>42858</c:v>
                </c:pt>
                <c:pt idx="4620">
                  <c:v>42859</c:v>
                </c:pt>
                <c:pt idx="4621">
                  <c:v>42860</c:v>
                </c:pt>
                <c:pt idx="4622">
                  <c:v>42863</c:v>
                </c:pt>
                <c:pt idx="4623">
                  <c:v>42864</c:v>
                </c:pt>
                <c:pt idx="4624">
                  <c:v>42865</c:v>
                </c:pt>
                <c:pt idx="4625">
                  <c:v>42866</c:v>
                </c:pt>
                <c:pt idx="4626">
                  <c:v>42867</c:v>
                </c:pt>
                <c:pt idx="4627">
                  <c:v>42870</c:v>
                </c:pt>
                <c:pt idx="4628">
                  <c:v>42871</c:v>
                </c:pt>
                <c:pt idx="4629">
                  <c:v>42872</c:v>
                </c:pt>
                <c:pt idx="4630">
                  <c:v>42873</c:v>
                </c:pt>
                <c:pt idx="4631">
                  <c:v>42874</c:v>
                </c:pt>
                <c:pt idx="4632">
                  <c:v>42877</c:v>
                </c:pt>
                <c:pt idx="4633">
                  <c:v>42878</c:v>
                </c:pt>
                <c:pt idx="4634">
                  <c:v>42879</c:v>
                </c:pt>
                <c:pt idx="4635">
                  <c:v>42880</c:v>
                </c:pt>
                <c:pt idx="4636">
                  <c:v>42881</c:v>
                </c:pt>
                <c:pt idx="4637">
                  <c:v>42884</c:v>
                </c:pt>
                <c:pt idx="4638">
                  <c:v>42885</c:v>
                </c:pt>
                <c:pt idx="4639">
                  <c:v>42886</c:v>
                </c:pt>
                <c:pt idx="4640">
                  <c:v>42887</c:v>
                </c:pt>
                <c:pt idx="4641">
                  <c:v>42888</c:v>
                </c:pt>
                <c:pt idx="4642">
                  <c:v>42891</c:v>
                </c:pt>
                <c:pt idx="4643">
                  <c:v>42892</c:v>
                </c:pt>
                <c:pt idx="4644">
                  <c:v>42893</c:v>
                </c:pt>
                <c:pt idx="4645">
                  <c:v>42894</c:v>
                </c:pt>
                <c:pt idx="4646">
                  <c:v>42895</c:v>
                </c:pt>
                <c:pt idx="4647">
                  <c:v>42898</c:v>
                </c:pt>
                <c:pt idx="4648">
                  <c:v>42899</c:v>
                </c:pt>
                <c:pt idx="4649">
                  <c:v>42900</c:v>
                </c:pt>
                <c:pt idx="4650">
                  <c:v>42901</c:v>
                </c:pt>
                <c:pt idx="4651">
                  <c:v>42902</c:v>
                </c:pt>
                <c:pt idx="4652">
                  <c:v>42905</c:v>
                </c:pt>
                <c:pt idx="4653">
                  <c:v>42906</c:v>
                </c:pt>
                <c:pt idx="4654">
                  <c:v>42907</c:v>
                </c:pt>
                <c:pt idx="4655">
                  <c:v>42908</c:v>
                </c:pt>
                <c:pt idx="4656">
                  <c:v>42909</c:v>
                </c:pt>
                <c:pt idx="4657">
                  <c:v>42912</c:v>
                </c:pt>
                <c:pt idx="4658">
                  <c:v>42913</c:v>
                </c:pt>
                <c:pt idx="4659">
                  <c:v>42914</c:v>
                </c:pt>
                <c:pt idx="4660">
                  <c:v>42915</c:v>
                </c:pt>
                <c:pt idx="4661">
                  <c:v>42916</c:v>
                </c:pt>
                <c:pt idx="4662">
                  <c:v>42919</c:v>
                </c:pt>
                <c:pt idx="4663">
                  <c:v>42920</c:v>
                </c:pt>
                <c:pt idx="4664">
                  <c:v>42921</c:v>
                </c:pt>
                <c:pt idx="4665">
                  <c:v>42922</c:v>
                </c:pt>
                <c:pt idx="4666">
                  <c:v>42923</c:v>
                </c:pt>
                <c:pt idx="4667">
                  <c:v>42926</c:v>
                </c:pt>
                <c:pt idx="4668">
                  <c:v>42927</c:v>
                </c:pt>
                <c:pt idx="4669">
                  <c:v>42928</c:v>
                </c:pt>
                <c:pt idx="4670">
                  <c:v>42929</c:v>
                </c:pt>
                <c:pt idx="4671">
                  <c:v>42930</c:v>
                </c:pt>
                <c:pt idx="4672">
                  <c:v>42933</c:v>
                </c:pt>
                <c:pt idx="4673">
                  <c:v>42934</c:v>
                </c:pt>
                <c:pt idx="4674">
                  <c:v>42935</c:v>
                </c:pt>
                <c:pt idx="4675">
                  <c:v>42936</c:v>
                </c:pt>
                <c:pt idx="4676">
                  <c:v>42937</c:v>
                </c:pt>
                <c:pt idx="4677">
                  <c:v>42940</c:v>
                </c:pt>
                <c:pt idx="4678">
                  <c:v>42941</c:v>
                </c:pt>
                <c:pt idx="4679">
                  <c:v>42942</c:v>
                </c:pt>
                <c:pt idx="4680">
                  <c:v>42943</c:v>
                </c:pt>
                <c:pt idx="4681">
                  <c:v>42944</c:v>
                </c:pt>
                <c:pt idx="4682">
                  <c:v>42947</c:v>
                </c:pt>
                <c:pt idx="4683">
                  <c:v>42948</c:v>
                </c:pt>
                <c:pt idx="4684">
                  <c:v>42949</c:v>
                </c:pt>
                <c:pt idx="4685">
                  <c:v>42950</c:v>
                </c:pt>
                <c:pt idx="4686">
                  <c:v>42951</c:v>
                </c:pt>
                <c:pt idx="4687">
                  <c:v>42954</c:v>
                </c:pt>
                <c:pt idx="4688">
                  <c:v>42955</c:v>
                </c:pt>
                <c:pt idx="4689">
                  <c:v>42956</c:v>
                </c:pt>
                <c:pt idx="4690">
                  <c:v>42957</c:v>
                </c:pt>
                <c:pt idx="4691">
                  <c:v>42958</c:v>
                </c:pt>
                <c:pt idx="4692">
                  <c:v>42961</c:v>
                </c:pt>
                <c:pt idx="4693">
                  <c:v>42962</c:v>
                </c:pt>
                <c:pt idx="4694">
                  <c:v>42963</c:v>
                </c:pt>
                <c:pt idx="4695">
                  <c:v>42964</c:v>
                </c:pt>
                <c:pt idx="4696">
                  <c:v>42965</c:v>
                </c:pt>
                <c:pt idx="4697">
                  <c:v>42968</c:v>
                </c:pt>
                <c:pt idx="4698">
                  <c:v>42969</c:v>
                </c:pt>
                <c:pt idx="4699">
                  <c:v>42970</c:v>
                </c:pt>
                <c:pt idx="4700">
                  <c:v>42971</c:v>
                </c:pt>
                <c:pt idx="4701">
                  <c:v>42972</c:v>
                </c:pt>
                <c:pt idx="4702">
                  <c:v>42975</c:v>
                </c:pt>
                <c:pt idx="4703">
                  <c:v>42976</c:v>
                </c:pt>
                <c:pt idx="4704">
                  <c:v>42977</c:v>
                </c:pt>
                <c:pt idx="4705">
                  <c:v>42978</c:v>
                </c:pt>
                <c:pt idx="4706">
                  <c:v>42979</c:v>
                </c:pt>
                <c:pt idx="4707">
                  <c:v>42982</c:v>
                </c:pt>
                <c:pt idx="4708">
                  <c:v>42983</c:v>
                </c:pt>
                <c:pt idx="4709">
                  <c:v>42984</c:v>
                </c:pt>
                <c:pt idx="4710">
                  <c:v>42985</c:v>
                </c:pt>
                <c:pt idx="4711">
                  <c:v>42986</c:v>
                </c:pt>
                <c:pt idx="4712">
                  <c:v>42989</c:v>
                </c:pt>
                <c:pt idx="4713">
                  <c:v>42990</c:v>
                </c:pt>
                <c:pt idx="4714">
                  <c:v>42991</c:v>
                </c:pt>
                <c:pt idx="4715">
                  <c:v>42992</c:v>
                </c:pt>
                <c:pt idx="4716">
                  <c:v>42993</c:v>
                </c:pt>
                <c:pt idx="4717">
                  <c:v>42996</c:v>
                </c:pt>
                <c:pt idx="4718">
                  <c:v>42997</c:v>
                </c:pt>
                <c:pt idx="4719">
                  <c:v>42998</c:v>
                </c:pt>
                <c:pt idx="4720">
                  <c:v>42999</c:v>
                </c:pt>
                <c:pt idx="4721">
                  <c:v>43000</c:v>
                </c:pt>
                <c:pt idx="4722">
                  <c:v>43003</c:v>
                </c:pt>
                <c:pt idx="4723">
                  <c:v>43004</c:v>
                </c:pt>
                <c:pt idx="4724">
                  <c:v>43005</c:v>
                </c:pt>
                <c:pt idx="4725">
                  <c:v>43006</c:v>
                </c:pt>
                <c:pt idx="4726">
                  <c:v>43007</c:v>
                </c:pt>
                <c:pt idx="4727">
                  <c:v>43010</c:v>
                </c:pt>
                <c:pt idx="4728">
                  <c:v>43011</c:v>
                </c:pt>
                <c:pt idx="4729">
                  <c:v>43012</c:v>
                </c:pt>
                <c:pt idx="4730">
                  <c:v>43013</c:v>
                </c:pt>
                <c:pt idx="4731">
                  <c:v>43014</c:v>
                </c:pt>
                <c:pt idx="4732">
                  <c:v>43017</c:v>
                </c:pt>
                <c:pt idx="4733">
                  <c:v>43018</c:v>
                </c:pt>
                <c:pt idx="4734">
                  <c:v>43019</c:v>
                </c:pt>
                <c:pt idx="4735">
                  <c:v>43020</c:v>
                </c:pt>
                <c:pt idx="4736">
                  <c:v>43021</c:v>
                </c:pt>
                <c:pt idx="4737">
                  <c:v>43024</c:v>
                </c:pt>
                <c:pt idx="4738">
                  <c:v>43025</c:v>
                </c:pt>
                <c:pt idx="4739">
                  <c:v>43026</c:v>
                </c:pt>
                <c:pt idx="4740">
                  <c:v>43027</c:v>
                </c:pt>
                <c:pt idx="4741">
                  <c:v>43028</c:v>
                </c:pt>
                <c:pt idx="4742">
                  <c:v>43031</c:v>
                </c:pt>
                <c:pt idx="4743">
                  <c:v>43032</c:v>
                </c:pt>
                <c:pt idx="4744">
                  <c:v>43033</c:v>
                </c:pt>
                <c:pt idx="4745">
                  <c:v>43034</c:v>
                </c:pt>
                <c:pt idx="4746">
                  <c:v>43035</c:v>
                </c:pt>
                <c:pt idx="4747">
                  <c:v>43038</c:v>
                </c:pt>
                <c:pt idx="4748">
                  <c:v>43039</c:v>
                </c:pt>
                <c:pt idx="4749">
                  <c:v>43040</c:v>
                </c:pt>
                <c:pt idx="4750">
                  <c:v>43041</c:v>
                </c:pt>
                <c:pt idx="4751">
                  <c:v>43042</c:v>
                </c:pt>
                <c:pt idx="4752">
                  <c:v>43045</c:v>
                </c:pt>
                <c:pt idx="4753">
                  <c:v>43046</c:v>
                </c:pt>
                <c:pt idx="4754">
                  <c:v>43047</c:v>
                </c:pt>
                <c:pt idx="4755">
                  <c:v>43048</c:v>
                </c:pt>
                <c:pt idx="4756">
                  <c:v>43049</c:v>
                </c:pt>
                <c:pt idx="4757">
                  <c:v>43052</c:v>
                </c:pt>
                <c:pt idx="4758">
                  <c:v>43053</c:v>
                </c:pt>
                <c:pt idx="4759">
                  <c:v>43054</c:v>
                </c:pt>
                <c:pt idx="4760">
                  <c:v>43055</c:v>
                </c:pt>
                <c:pt idx="4761">
                  <c:v>43056</c:v>
                </c:pt>
                <c:pt idx="4762">
                  <c:v>43059</c:v>
                </c:pt>
                <c:pt idx="4763">
                  <c:v>43060</c:v>
                </c:pt>
                <c:pt idx="4764">
                  <c:v>43061</c:v>
                </c:pt>
                <c:pt idx="4765">
                  <c:v>43062</c:v>
                </c:pt>
                <c:pt idx="4766">
                  <c:v>43063</c:v>
                </c:pt>
                <c:pt idx="4767">
                  <c:v>43066</c:v>
                </c:pt>
                <c:pt idx="4768">
                  <c:v>43067</c:v>
                </c:pt>
                <c:pt idx="4769">
                  <c:v>43068</c:v>
                </c:pt>
                <c:pt idx="4770">
                  <c:v>43069</c:v>
                </c:pt>
                <c:pt idx="4771">
                  <c:v>43070</c:v>
                </c:pt>
                <c:pt idx="4772">
                  <c:v>43073</c:v>
                </c:pt>
                <c:pt idx="4773">
                  <c:v>43074</c:v>
                </c:pt>
                <c:pt idx="4774">
                  <c:v>43075</c:v>
                </c:pt>
                <c:pt idx="4775">
                  <c:v>43076</c:v>
                </c:pt>
                <c:pt idx="4776">
                  <c:v>43077</c:v>
                </c:pt>
                <c:pt idx="4777">
                  <c:v>43080</c:v>
                </c:pt>
                <c:pt idx="4778">
                  <c:v>43081</c:v>
                </c:pt>
                <c:pt idx="4779">
                  <c:v>43082</c:v>
                </c:pt>
                <c:pt idx="4780">
                  <c:v>43083</c:v>
                </c:pt>
                <c:pt idx="4781">
                  <c:v>43084</c:v>
                </c:pt>
                <c:pt idx="4782">
                  <c:v>43087</c:v>
                </c:pt>
                <c:pt idx="4783">
                  <c:v>43088</c:v>
                </c:pt>
                <c:pt idx="4784">
                  <c:v>43089</c:v>
                </c:pt>
                <c:pt idx="4785">
                  <c:v>43090</c:v>
                </c:pt>
                <c:pt idx="4786">
                  <c:v>43091</c:v>
                </c:pt>
                <c:pt idx="4787">
                  <c:v>43094</c:v>
                </c:pt>
                <c:pt idx="4788">
                  <c:v>43095</c:v>
                </c:pt>
                <c:pt idx="4789">
                  <c:v>43096</c:v>
                </c:pt>
                <c:pt idx="4790">
                  <c:v>43097</c:v>
                </c:pt>
                <c:pt idx="4791">
                  <c:v>43098</c:v>
                </c:pt>
                <c:pt idx="4792">
                  <c:v>43101</c:v>
                </c:pt>
                <c:pt idx="4793">
                  <c:v>43102</c:v>
                </c:pt>
                <c:pt idx="4794">
                  <c:v>43103</c:v>
                </c:pt>
                <c:pt idx="4795">
                  <c:v>43104</c:v>
                </c:pt>
                <c:pt idx="4796">
                  <c:v>43105</c:v>
                </c:pt>
                <c:pt idx="4797">
                  <c:v>43108</c:v>
                </c:pt>
                <c:pt idx="4798">
                  <c:v>43109</c:v>
                </c:pt>
                <c:pt idx="4799">
                  <c:v>43110</c:v>
                </c:pt>
                <c:pt idx="4800">
                  <c:v>43111</c:v>
                </c:pt>
                <c:pt idx="4801">
                  <c:v>43112</c:v>
                </c:pt>
                <c:pt idx="4802">
                  <c:v>43115</c:v>
                </c:pt>
                <c:pt idx="4803">
                  <c:v>43116</c:v>
                </c:pt>
                <c:pt idx="4804">
                  <c:v>43117</c:v>
                </c:pt>
                <c:pt idx="4805">
                  <c:v>43118</c:v>
                </c:pt>
                <c:pt idx="4806">
                  <c:v>43119</c:v>
                </c:pt>
                <c:pt idx="4807">
                  <c:v>43122</c:v>
                </c:pt>
                <c:pt idx="4808">
                  <c:v>43123</c:v>
                </c:pt>
                <c:pt idx="4809">
                  <c:v>43124</c:v>
                </c:pt>
                <c:pt idx="4810">
                  <c:v>43125</c:v>
                </c:pt>
                <c:pt idx="4811">
                  <c:v>43126</c:v>
                </c:pt>
                <c:pt idx="4812">
                  <c:v>43129</c:v>
                </c:pt>
                <c:pt idx="4813">
                  <c:v>43130</c:v>
                </c:pt>
                <c:pt idx="4814">
                  <c:v>43131</c:v>
                </c:pt>
                <c:pt idx="4815">
                  <c:v>43132</c:v>
                </c:pt>
                <c:pt idx="4816">
                  <c:v>43133</c:v>
                </c:pt>
                <c:pt idx="4817">
                  <c:v>43136</c:v>
                </c:pt>
                <c:pt idx="4818">
                  <c:v>43137</c:v>
                </c:pt>
                <c:pt idx="4819">
                  <c:v>43138</c:v>
                </c:pt>
                <c:pt idx="4820">
                  <c:v>43139</c:v>
                </c:pt>
                <c:pt idx="4821">
                  <c:v>43140</c:v>
                </c:pt>
                <c:pt idx="4822">
                  <c:v>43143</c:v>
                </c:pt>
                <c:pt idx="4823">
                  <c:v>43144</c:v>
                </c:pt>
                <c:pt idx="4824">
                  <c:v>43145</c:v>
                </c:pt>
                <c:pt idx="4825">
                  <c:v>43146</c:v>
                </c:pt>
                <c:pt idx="4826">
                  <c:v>43147</c:v>
                </c:pt>
                <c:pt idx="4827">
                  <c:v>43150</c:v>
                </c:pt>
                <c:pt idx="4828">
                  <c:v>43151</c:v>
                </c:pt>
                <c:pt idx="4829">
                  <c:v>43152</c:v>
                </c:pt>
                <c:pt idx="4830">
                  <c:v>43153</c:v>
                </c:pt>
                <c:pt idx="4831">
                  <c:v>43154</c:v>
                </c:pt>
                <c:pt idx="4832">
                  <c:v>43157</c:v>
                </c:pt>
                <c:pt idx="4833">
                  <c:v>43158</c:v>
                </c:pt>
                <c:pt idx="4834">
                  <c:v>43159</c:v>
                </c:pt>
                <c:pt idx="4835">
                  <c:v>43160</c:v>
                </c:pt>
                <c:pt idx="4836">
                  <c:v>43161</c:v>
                </c:pt>
                <c:pt idx="4837">
                  <c:v>43164</c:v>
                </c:pt>
                <c:pt idx="4838">
                  <c:v>43165</c:v>
                </c:pt>
                <c:pt idx="4839">
                  <c:v>43166</c:v>
                </c:pt>
                <c:pt idx="4840">
                  <c:v>43167</c:v>
                </c:pt>
                <c:pt idx="4841">
                  <c:v>43168</c:v>
                </c:pt>
                <c:pt idx="4842">
                  <c:v>43171</c:v>
                </c:pt>
                <c:pt idx="4843">
                  <c:v>43172</c:v>
                </c:pt>
                <c:pt idx="4844">
                  <c:v>43173</c:v>
                </c:pt>
                <c:pt idx="4845">
                  <c:v>43174</c:v>
                </c:pt>
                <c:pt idx="4846">
                  <c:v>43175</c:v>
                </c:pt>
                <c:pt idx="4847">
                  <c:v>43178</c:v>
                </c:pt>
                <c:pt idx="4848">
                  <c:v>43179</c:v>
                </c:pt>
                <c:pt idx="4849">
                  <c:v>43180</c:v>
                </c:pt>
                <c:pt idx="4850">
                  <c:v>43181</c:v>
                </c:pt>
                <c:pt idx="4851">
                  <c:v>43182</c:v>
                </c:pt>
                <c:pt idx="4852">
                  <c:v>43185</c:v>
                </c:pt>
                <c:pt idx="4853">
                  <c:v>43186</c:v>
                </c:pt>
                <c:pt idx="4854">
                  <c:v>43187</c:v>
                </c:pt>
                <c:pt idx="4855">
                  <c:v>43188</c:v>
                </c:pt>
                <c:pt idx="4856">
                  <c:v>43189</c:v>
                </c:pt>
                <c:pt idx="4857">
                  <c:v>43192</c:v>
                </c:pt>
                <c:pt idx="4858">
                  <c:v>43193</c:v>
                </c:pt>
                <c:pt idx="4859">
                  <c:v>43194</c:v>
                </c:pt>
                <c:pt idx="4860">
                  <c:v>43195</c:v>
                </c:pt>
                <c:pt idx="4861">
                  <c:v>43196</c:v>
                </c:pt>
                <c:pt idx="4862">
                  <c:v>43199</c:v>
                </c:pt>
                <c:pt idx="4863">
                  <c:v>43200</c:v>
                </c:pt>
                <c:pt idx="4864">
                  <c:v>43201</c:v>
                </c:pt>
                <c:pt idx="4865">
                  <c:v>43202</c:v>
                </c:pt>
                <c:pt idx="4866">
                  <c:v>43203</c:v>
                </c:pt>
                <c:pt idx="4867">
                  <c:v>43206</c:v>
                </c:pt>
                <c:pt idx="4868">
                  <c:v>43207</c:v>
                </c:pt>
                <c:pt idx="4869">
                  <c:v>43208</c:v>
                </c:pt>
                <c:pt idx="4870">
                  <c:v>43209</c:v>
                </c:pt>
                <c:pt idx="4871">
                  <c:v>43210</c:v>
                </c:pt>
                <c:pt idx="4872">
                  <c:v>43213</c:v>
                </c:pt>
                <c:pt idx="4873">
                  <c:v>43214</c:v>
                </c:pt>
                <c:pt idx="4874">
                  <c:v>43215</c:v>
                </c:pt>
                <c:pt idx="4875">
                  <c:v>43216</c:v>
                </c:pt>
                <c:pt idx="4876">
                  <c:v>43217</c:v>
                </c:pt>
                <c:pt idx="4877">
                  <c:v>43220</c:v>
                </c:pt>
                <c:pt idx="4878">
                  <c:v>43221</c:v>
                </c:pt>
                <c:pt idx="4879">
                  <c:v>43222</c:v>
                </c:pt>
                <c:pt idx="4880">
                  <c:v>43223</c:v>
                </c:pt>
                <c:pt idx="4881">
                  <c:v>43224</c:v>
                </c:pt>
                <c:pt idx="4882">
                  <c:v>43227</c:v>
                </c:pt>
                <c:pt idx="4883">
                  <c:v>43228</c:v>
                </c:pt>
                <c:pt idx="4884">
                  <c:v>43229</c:v>
                </c:pt>
                <c:pt idx="4885">
                  <c:v>43230</c:v>
                </c:pt>
                <c:pt idx="4886">
                  <c:v>43231</c:v>
                </c:pt>
                <c:pt idx="4887">
                  <c:v>43234</c:v>
                </c:pt>
                <c:pt idx="4888">
                  <c:v>43235</c:v>
                </c:pt>
                <c:pt idx="4889">
                  <c:v>43236</c:v>
                </c:pt>
                <c:pt idx="4890">
                  <c:v>43237</c:v>
                </c:pt>
                <c:pt idx="4891">
                  <c:v>43238</c:v>
                </c:pt>
                <c:pt idx="4892">
                  <c:v>43241</c:v>
                </c:pt>
                <c:pt idx="4893">
                  <c:v>43242</c:v>
                </c:pt>
                <c:pt idx="4894">
                  <c:v>43243</c:v>
                </c:pt>
                <c:pt idx="4895">
                  <c:v>43244</c:v>
                </c:pt>
                <c:pt idx="4896">
                  <c:v>43245</c:v>
                </c:pt>
                <c:pt idx="4897">
                  <c:v>43248</c:v>
                </c:pt>
                <c:pt idx="4898">
                  <c:v>43249</c:v>
                </c:pt>
                <c:pt idx="4899">
                  <c:v>43250</c:v>
                </c:pt>
                <c:pt idx="4900">
                  <c:v>43251</c:v>
                </c:pt>
                <c:pt idx="4901">
                  <c:v>43252</c:v>
                </c:pt>
                <c:pt idx="4902">
                  <c:v>43255</c:v>
                </c:pt>
                <c:pt idx="4903">
                  <c:v>43256</c:v>
                </c:pt>
                <c:pt idx="4904">
                  <c:v>43257</c:v>
                </c:pt>
                <c:pt idx="4905">
                  <c:v>43258</c:v>
                </c:pt>
                <c:pt idx="4906">
                  <c:v>43259</c:v>
                </c:pt>
                <c:pt idx="4907">
                  <c:v>43262</c:v>
                </c:pt>
                <c:pt idx="4908">
                  <c:v>43263</c:v>
                </c:pt>
                <c:pt idx="4909">
                  <c:v>43264</c:v>
                </c:pt>
                <c:pt idx="4910">
                  <c:v>43265</c:v>
                </c:pt>
                <c:pt idx="4911">
                  <c:v>43266</c:v>
                </c:pt>
                <c:pt idx="4912">
                  <c:v>43269</c:v>
                </c:pt>
                <c:pt idx="4913">
                  <c:v>43270</c:v>
                </c:pt>
                <c:pt idx="4914">
                  <c:v>43271</c:v>
                </c:pt>
                <c:pt idx="4915">
                  <c:v>43272</c:v>
                </c:pt>
                <c:pt idx="4916">
                  <c:v>43273</c:v>
                </c:pt>
                <c:pt idx="4917">
                  <c:v>43276</c:v>
                </c:pt>
                <c:pt idx="4918">
                  <c:v>43277</c:v>
                </c:pt>
                <c:pt idx="4919">
                  <c:v>43278</c:v>
                </c:pt>
                <c:pt idx="4920">
                  <c:v>43279</c:v>
                </c:pt>
                <c:pt idx="4921">
                  <c:v>43280</c:v>
                </c:pt>
                <c:pt idx="4922">
                  <c:v>43283</c:v>
                </c:pt>
                <c:pt idx="4923">
                  <c:v>43284</c:v>
                </c:pt>
                <c:pt idx="4924">
                  <c:v>43285</c:v>
                </c:pt>
                <c:pt idx="4925">
                  <c:v>43286</c:v>
                </c:pt>
                <c:pt idx="4926">
                  <c:v>43287</c:v>
                </c:pt>
                <c:pt idx="4927">
                  <c:v>43290</c:v>
                </c:pt>
                <c:pt idx="4928">
                  <c:v>43291</c:v>
                </c:pt>
                <c:pt idx="4929">
                  <c:v>43292</c:v>
                </c:pt>
                <c:pt idx="4930">
                  <c:v>43293</c:v>
                </c:pt>
                <c:pt idx="4931">
                  <c:v>43294</c:v>
                </c:pt>
                <c:pt idx="4932">
                  <c:v>43297</c:v>
                </c:pt>
                <c:pt idx="4933">
                  <c:v>43298</c:v>
                </c:pt>
                <c:pt idx="4934">
                  <c:v>43299</c:v>
                </c:pt>
                <c:pt idx="4935">
                  <c:v>43300</c:v>
                </c:pt>
                <c:pt idx="4936">
                  <c:v>43301</c:v>
                </c:pt>
                <c:pt idx="4937">
                  <c:v>43304</c:v>
                </c:pt>
                <c:pt idx="4938">
                  <c:v>43305</c:v>
                </c:pt>
                <c:pt idx="4939">
                  <c:v>43306</c:v>
                </c:pt>
                <c:pt idx="4940">
                  <c:v>43307</c:v>
                </c:pt>
                <c:pt idx="4941">
                  <c:v>43308</c:v>
                </c:pt>
                <c:pt idx="4942">
                  <c:v>43311</c:v>
                </c:pt>
                <c:pt idx="4943">
                  <c:v>43312</c:v>
                </c:pt>
                <c:pt idx="4944">
                  <c:v>43313</c:v>
                </c:pt>
                <c:pt idx="4945">
                  <c:v>43314</c:v>
                </c:pt>
                <c:pt idx="4946">
                  <c:v>43315</c:v>
                </c:pt>
                <c:pt idx="4947">
                  <c:v>43318</c:v>
                </c:pt>
                <c:pt idx="4948">
                  <c:v>43319</c:v>
                </c:pt>
                <c:pt idx="4949">
                  <c:v>43320</c:v>
                </c:pt>
                <c:pt idx="4950">
                  <c:v>43321</c:v>
                </c:pt>
                <c:pt idx="4951">
                  <c:v>43322</c:v>
                </c:pt>
                <c:pt idx="4952">
                  <c:v>43325</c:v>
                </c:pt>
                <c:pt idx="4953">
                  <c:v>43326</c:v>
                </c:pt>
                <c:pt idx="4954">
                  <c:v>43327</c:v>
                </c:pt>
                <c:pt idx="4955">
                  <c:v>43328</c:v>
                </c:pt>
                <c:pt idx="4956">
                  <c:v>43329</c:v>
                </c:pt>
                <c:pt idx="4957">
                  <c:v>43332</c:v>
                </c:pt>
                <c:pt idx="4958">
                  <c:v>43333</c:v>
                </c:pt>
                <c:pt idx="4959">
                  <c:v>43334</c:v>
                </c:pt>
                <c:pt idx="4960">
                  <c:v>43335</c:v>
                </c:pt>
                <c:pt idx="4961">
                  <c:v>43336</c:v>
                </c:pt>
                <c:pt idx="4962">
                  <c:v>43339</c:v>
                </c:pt>
                <c:pt idx="4963">
                  <c:v>43340</c:v>
                </c:pt>
                <c:pt idx="4964">
                  <c:v>43341</c:v>
                </c:pt>
                <c:pt idx="4965">
                  <c:v>43342</c:v>
                </c:pt>
                <c:pt idx="4966">
                  <c:v>43343</c:v>
                </c:pt>
                <c:pt idx="4967">
                  <c:v>43346</c:v>
                </c:pt>
                <c:pt idx="4968">
                  <c:v>43347</c:v>
                </c:pt>
                <c:pt idx="4969">
                  <c:v>43348</c:v>
                </c:pt>
                <c:pt idx="4970">
                  <c:v>43349</c:v>
                </c:pt>
                <c:pt idx="4971">
                  <c:v>43350</c:v>
                </c:pt>
                <c:pt idx="4972">
                  <c:v>43353</c:v>
                </c:pt>
                <c:pt idx="4973">
                  <c:v>43354</c:v>
                </c:pt>
                <c:pt idx="4974">
                  <c:v>43355</c:v>
                </c:pt>
                <c:pt idx="4975">
                  <c:v>43356</c:v>
                </c:pt>
                <c:pt idx="4976">
                  <c:v>43357</c:v>
                </c:pt>
                <c:pt idx="4977">
                  <c:v>43360</c:v>
                </c:pt>
                <c:pt idx="4978">
                  <c:v>43361</c:v>
                </c:pt>
                <c:pt idx="4979">
                  <c:v>43362</c:v>
                </c:pt>
                <c:pt idx="4980">
                  <c:v>43363</c:v>
                </c:pt>
                <c:pt idx="4981">
                  <c:v>43364</c:v>
                </c:pt>
                <c:pt idx="4982">
                  <c:v>43367</c:v>
                </c:pt>
                <c:pt idx="4983">
                  <c:v>43368</c:v>
                </c:pt>
                <c:pt idx="4984">
                  <c:v>43369</c:v>
                </c:pt>
                <c:pt idx="4985">
                  <c:v>43370</c:v>
                </c:pt>
                <c:pt idx="4986">
                  <c:v>43371</c:v>
                </c:pt>
                <c:pt idx="4987">
                  <c:v>43374</c:v>
                </c:pt>
                <c:pt idx="4988">
                  <c:v>43375</c:v>
                </c:pt>
                <c:pt idx="4989">
                  <c:v>43376</c:v>
                </c:pt>
                <c:pt idx="4990">
                  <c:v>43377</c:v>
                </c:pt>
                <c:pt idx="4991">
                  <c:v>43378</c:v>
                </c:pt>
                <c:pt idx="4992">
                  <c:v>43381</c:v>
                </c:pt>
                <c:pt idx="4993">
                  <c:v>43382</c:v>
                </c:pt>
                <c:pt idx="4994">
                  <c:v>43383</c:v>
                </c:pt>
                <c:pt idx="4995">
                  <c:v>43384</c:v>
                </c:pt>
                <c:pt idx="4996">
                  <c:v>43385</c:v>
                </c:pt>
                <c:pt idx="4997">
                  <c:v>43388</c:v>
                </c:pt>
                <c:pt idx="4998">
                  <c:v>43389</c:v>
                </c:pt>
                <c:pt idx="4999">
                  <c:v>43390</c:v>
                </c:pt>
                <c:pt idx="5000">
                  <c:v>43391</c:v>
                </c:pt>
                <c:pt idx="5001">
                  <c:v>43392</c:v>
                </c:pt>
                <c:pt idx="5002">
                  <c:v>43395</c:v>
                </c:pt>
                <c:pt idx="5003">
                  <c:v>43396</c:v>
                </c:pt>
                <c:pt idx="5004">
                  <c:v>43397</c:v>
                </c:pt>
                <c:pt idx="5005">
                  <c:v>43398</c:v>
                </c:pt>
                <c:pt idx="5006">
                  <c:v>43399</c:v>
                </c:pt>
                <c:pt idx="5007">
                  <c:v>43402</c:v>
                </c:pt>
                <c:pt idx="5008">
                  <c:v>43403</c:v>
                </c:pt>
                <c:pt idx="5009">
                  <c:v>43404</c:v>
                </c:pt>
                <c:pt idx="5010">
                  <c:v>43405</c:v>
                </c:pt>
                <c:pt idx="5011">
                  <c:v>43406</c:v>
                </c:pt>
                <c:pt idx="5012">
                  <c:v>43409</c:v>
                </c:pt>
                <c:pt idx="5013">
                  <c:v>43410</c:v>
                </c:pt>
                <c:pt idx="5014">
                  <c:v>43411</c:v>
                </c:pt>
                <c:pt idx="5015">
                  <c:v>43412</c:v>
                </c:pt>
                <c:pt idx="5016">
                  <c:v>43413</c:v>
                </c:pt>
                <c:pt idx="5017">
                  <c:v>43416</c:v>
                </c:pt>
                <c:pt idx="5018">
                  <c:v>43417</c:v>
                </c:pt>
                <c:pt idx="5019">
                  <c:v>43418</c:v>
                </c:pt>
                <c:pt idx="5020">
                  <c:v>43419</c:v>
                </c:pt>
                <c:pt idx="5021">
                  <c:v>43420</c:v>
                </c:pt>
                <c:pt idx="5022">
                  <c:v>43423</c:v>
                </c:pt>
                <c:pt idx="5023">
                  <c:v>43424</c:v>
                </c:pt>
                <c:pt idx="5024">
                  <c:v>43425</c:v>
                </c:pt>
                <c:pt idx="5025">
                  <c:v>43426</c:v>
                </c:pt>
                <c:pt idx="5026">
                  <c:v>43427</c:v>
                </c:pt>
                <c:pt idx="5027">
                  <c:v>43430</c:v>
                </c:pt>
                <c:pt idx="5028">
                  <c:v>43431</c:v>
                </c:pt>
                <c:pt idx="5029">
                  <c:v>43432</c:v>
                </c:pt>
                <c:pt idx="5030">
                  <c:v>43433</c:v>
                </c:pt>
                <c:pt idx="5031">
                  <c:v>43434</c:v>
                </c:pt>
                <c:pt idx="5032">
                  <c:v>43437</c:v>
                </c:pt>
                <c:pt idx="5033">
                  <c:v>43438</c:v>
                </c:pt>
                <c:pt idx="5034">
                  <c:v>43439</c:v>
                </c:pt>
                <c:pt idx="5035">
                  <c:v>43440</c:v>
                </c:pt>
                <c:pt idx="5036">
                  <c:v>43441</c:v>
                </c:pt>
                <c:pt idx="5037">
                  <c:v>43444</c:v>
                </c:pt>
                <c:pt idx="5038">
                  <c:v>43445</c:v>
                </c:pt>
                <c:pt idx="5039">
                  <c:v>43446</c:v>
                </c:pt>
                <c:pt idx="5040">
                  <c:v>43447</c:v>
                </c:pt>
                <c:pt idx="5041">
                  <c:v>43448</c:v>
                </c:pt>
                <c:pt idx="5042">
                  <c:v>43451</c:v>
                </c:pt>
                <c:pt idx="5043">
                  <c:v>43452</c:v>
                </c:pt>
                <c:pt idx="5044">
                  <c:v>43453</c:v>
                </c:pt>
                <c:pt idx="5045">
                  <c:v>43454</c:v>
                </c:pt>
                <c:pt idx="5046">
                  <c:v>43455</c:v>
                </c:pt>
                <c:pt idx="5047">
                  <c:v>43458</c:v>
                </c:pt>
                <c:pt idx="5048">
                  <c:v>43459</c:v>
                </c:pt>
                <c:pt idx="5049">
                  <c:v>43460</c:v>
                </c:pt>
                <c:pt idx="5050">
                  <c:v>43461</c:v>
                </c:pt>
                <c:pt idx="5051">
                  <c:v>43462</c:v>
                </c:pt>
                <c:pt idx="5052">
                  <c:v>43465</c:v>
                </c:pt>
                <c:pt idx="5053">
                  <c:v>43466</c:v>
                </c:pt>
                <c:pt idx="5054">
                  <c:v>43467</c:v>
                </c:pt>
                <c:pt idx="5055">
                  <c:v>43468</c:v>
                </c:pt>
                <c:pt idx="5056">
                  <c:v>43469</c:v>
                </c:pt>
                <c:pt idx="5057">
                  <c:v>43472</c:v>
                </c:pt>
                <c:pt idx="5058">
                  <c:v>43473</c:v>
                </c:pt>
                <c:pt idx="5059">
                  <c:v>43474</c:v>
                </c:pt>
                <c:pt idx="5060">
                  <c:v>43475</c:v>
                </c:pt>
                <c:pt idx="5061">
                  <c:v>43476</c:v>
                </c:pt>
                <c:pt idx="5062">
                  <c:v>43479</c:v>
                </c:pt>
                <c:pt idx="5063">
                  <c:v>43480</c:v>
                </c:pt>
                <c:pt idx="5064">
                  <c:v>43481</c:v>
                </c:pt>
                <c:pt idx="5065">
                  <c:v>43482</c:v>
                </c:pt>
                <c:pt idx="5066">
                  <c:v>43483</c:v>
                </c:pt>
                <c:pt idx="5067">
                  <c:v>43486</c:v>
                </c:pt>
                <c:pt idx="5068">
                  <c:v>43487</c:v>
                </c:pt>
                <c:pt idx="5069">
                  <c:v>43488</c:v>
                </c:pt>
                <c:pt idx="5070">
                  <c:v>43489</c:v>
                </c:pt>
                <c:pt idx="5071">
                  <c:v>43490</c:v>
                </c:pt>
                <c:pt idx="5072">
                  <c:v>43493</c:v>
                </c:pt>
                <c:pt idx="5073">
                  <c:v>43494</c:v>
                </c:pt>
                <c:pt idx="5074">
                  <c:v>43495</c:v>
                </c:pt>
                <c:pt idx="5075">
                  <c:v>43496</c:v>
                </c:pt>
                <c:pt idx="5076">
                  <c:v>43497</c:v>
                </c:pt>
                <c:pt idx="5077">
                  <c:v>43500</c:v>
                </c:pt>
                <c:pt idx="5078">
                  <c:v>43501</c:v>
                </c:pt>
                <c:pt idx="5079">
                  <c:v>43502</c:v>
                </c:pt>
                <c:pt idx="5080">
                  <c:v>43503</c:v>
                </c:pt>
                <c:pt idx="5081">
                  <c:v>43504</c:v>
                </c:pt>
                <c:pt idx="5082">
                  <c:v>43507</c:v>
                </c:pt>
                <c:pt idx="5083">
                  <c:v>43508</c:v>
                </c:pt>
                <c:pt idx="5084">
                  <c:v>43509</c:v>
                </c:pt>
                <c:pt idx="5085">
                  <c:v>43510</c:v>
                </c:pt>
                <c:pt idx="5086">
                  <c:v>43511</c:v>
                </c:pt>
                <c:pt idx="5087">
                  <c:v>43514</c:v>
                </c:pt>
                <c:pt idx="5088">
                  <c:v>43515</c:v>
                </c:pt>
                <c:pt idx="5089">
                  <c:v>43516</c:v>
                </c:pt>
                <c:pt idx="5090">
                  <c:v>43517</c:v>
                </c:pt>
                <c:pt idx="5091">
                  <c:v>43518</c:v>
                </c:pt>
                <c:pt idx="5092">
                  <c:v>43521</c:v>
                </c:pt>
                <c:pt idx="5093">
                  <c:v>43522</c:v>
                </c:pt>
                <c:pt idx="5094">
                  <c:v>43523</c:v>
                </c:pt>
                <c:pt idx="5095">
                  <c:v>43524</c:v>
                </c:pt>
                <c:pt idx="5096">
                  <c:v>43525</c:v>
                </c:pt>
                <c:pt idx="5097">
                  <c:v>43528</c:v>
                </c:pt>
                <c:pt idx="5098">
                  <c:v>43529</c:v>
                </c:pt>
                <c:pt idx="5099">
                  <c:v>43530</c:v>
                </c:pt>
                <c:pt idx="5100">
                  <c:v>43531</c:v>
                </c:pt>
                <c:pt idx="5101">
                  <c:v>43532</c:v>
                </c:pt>
                <c:pt idx="5102">
                  <c:v>43535</c:v>
                </c:pt>
                <c:pt idx="5103">
                  <c:v>43536</c:v>
                </c:pt>
                <c:pt idx="5104">
                  <c:v>43537</c:v>
                </c:pt>
                <c:pt idx="5105">
                  <c:v>43538</c:v>
                </c:pt>
                <c:pt idx="5106">
                  <c:v>43539</c:v>
                </c:pt>
                <c:pt idx="5107">
                  <c:v>43542</c:v>
                </c:pt>
                <c:pt idx="5108">
                  <c:v>43543</c:v>
                </c:pt>
                <c:pt idx="5109">
                  <c:v>43544</c:v>
                </c:pt>
                <c:pt idx="5110">
                  <c:v>43545</c:v>
                </c:pt>
                <c:pt idx="5111">
                  <c:v>43546</c:v>
                </c:pt>
                <c:pt idx="5112">
                  <c:v>43549</c:v>
                </c:pt>
                <c:pt idx="5113">
                  <c:v>43550</c:v>
                </c:pt>
                <c:pt idx="5114">
                  <c:v>43551</c:v>
                </c:pt>
                <c:pt idx="5115">
                  <c:v>43552</c:v>
                </c:pt>
                <c:pt idx="5116">
                  <c:v>43553</c:v>
                </c:pt>
                <c:pt idx="5117">
                  <c:v>43556</c:v>
                </c:pt>
                <c:pt idx="5118">
                  <c:v>43557</c:v>
                </c:pt>
                <c:pt idx="5119">
                  <c:v>43558</c:v>
                </c:pt>
                <c:pt idx="5120">
                  <c:v>43559</c:v>
                </c:pt>
                <c:pt idx="5121">
                  <c:v>43560</c:v>
                </c:pt>
                <c:pt idx="5122">
                  <c:v>43563</c:v>
                </c:pt>
                <c:pt idx="5123">
                  <c:v>43564</c:v>
                </c:pt>
                <c:pt idx="5124">
                  <c:v>43565</c:v>
                </c:pt>
                <c:pt idx="5125">
                  <c:v>43566</c:v>
                </c:pt>
                <c:pt idx="5126">
                  <c:v>43567</c:v>
                </c:pt>
                <c:pt idx="5127">
                  <c:v>43570</c:v>
                </c:pt>
                <c:pt idx="5128">
                  <c:v>43571</c:v>
                </c:pt>
                <c:pt idx="5129">
                  <c:v>43572</c:v>
                </c:pt>
                <c:pt idx="5130">
                  <c:v>43573</c:v>
                </c:pt>
                <c:pt idx="5131">
                  <c:v>43574</c:v>
                </c:pt>
                <c:pt idx="5132">
                  <c:v>43577</c:v>
                </c:pt>
                <c:pt idx="5133">
                  <c:v>43578</c:v>
                </c:pt>
                <c:pt idx="5134">
                  <c:v>43579</c:v>
                </c:pt>
                <c:pt idx="5135">
                  <c:v>43580</c:v>
                </c:pt>
                <c:pt idx="5136">
                  <c:v>43581</c:v>
                </c:pt>
                <c:pt idx="5137">
                  <c:v>43584</c:v>
                </c:pt>
                <c:pt idx="5138">
                  <c:v>43585</c:v>
                </c:pt>
                <c:pt idx="5139">
                  <c:v>43586</c:v>
                </c:pt>
                <c:pt idx="5140">
                  <c:v>43587</c:v>
                </c:pt>
                <c:pt idx="5141">
                  <c:v>43588</c:v>
                </c:pt>
                <c:pt idx="5142">
                  <c:v>43591</c:v>
                </c:pt>
                <c:pt idx="5143">
                  <c:v>43592</c:v>
                </c:pt>
                <c:pt idx="5144">
                  <c:v>43593</c:v>
                </c:pt>
                <c:pt idx="5145">
                  <c:v>43594</c:v>
                </c:pt>
                <c:pt idx="5146">
                  <c:v>43595</c:v>
                </c:pt>
                <c:pt idx="5147">
                  <c:v>43598</c:v>
                </c:pt>
                <c:pt idx="5148">
                  <c:v>43599</c:v>
                </c:pt>
                <c:pt idx="5149">
                  <c:v>43600</c:v>
                </c:pt>
                <c:pt idx="5150">
                  <c:v>43601</c:v>
                </c:pt>
                <c:pt idx="5151">
                  <c:v>43602</c:v>
                </c:pt>
                <c:pt idx="5152">
                  <c:v>43605</c:v>
                </c:pt>
                <c:pt idx="5153">
                  <c:v>43606</c:v>
                </c:pt>
                <c:pt idx="5154">
                  <c:v>43607</c:v>
                </c:pt>
                <c:pt idx="5155">
                  <c:v>43608</c:v>
                </c:pt>
                <c:pt idx="5156">
                  <c:v>43609</c:v>
                </c:pt>
                <c:pt idx="5157">
                  <c:v>43612</c:v>
                </c:pt>
                <c:pt idx="5158">
                  <c:v>43613</c:v>
                </c:pt>
                <c:pt idx="5159">
                  <c:v>43614</c:v>
                </c:pt>
                <c:pt idx="5160">
                  <c:v>43615</c:v>
                </c:pt>
                <c:pt idx="5161">
                  <c:v>43616</c:v>
                </c:pt>
                <c:pt idx="5162">
                  <c:v>43619</c:v>
                </c:pt>
                <c:pt idx="5163">
                  <c:v>43620</c:v>
                </c:pt>
                <c:pt idx="5164">
                  <c:v>43621</c:v>
                </c:pt>
                <c:pt idx="5165">
                  <c:v>43622</c:v>
                </c:pt>
                <c:pt idx="5166">
                  <c:v>43623</c:v>
                </c:pt>
                <c:pt idx="5167">
                  <c:v>43626</c:v>
                </c:pt>
                <c:pt idx="5168">
                  <c:v>43627</c:v>
                </c:pt>
                <c:pt idx="5169">
                  <c:v>43628</c:v>
                </c:pt>
                <c:pt idx="5170">
                  <c:v>43629</c:v>
                </c:pt>
                <c:pt idx="5171">
                  <c:v>43630</c:v>
                </c:pt>
                <c:pt idx="5172">
                  <c:v>43633</c:v>
                </c:pt>
                <c:pt idx="5173">
                  <c:v>43634</c:v>
                </c:pt>
                <c:pt idx="5174">
                  <c:v>43635</c:v>
                </c:pt>
                <c:pt idx="5175">
                  <c:v>43636</c:v>
                </c:pt>
                <c:pt idx="5176">
                  <c:v>43637</c:v>
                </c:pt>
                <c:pt idx="5177">
                  <c:v>43640</c:v>
                </c:pt>
                <c:pt idx="5178">
                  <c:v>43641</c:v>
                </c:pt>
                <c:pt idx="5179">
                  <c:v>43642</c:v>
                </c:pt>
                <c:pt idx="5180">
                  <c:v>43643</c:v>
                </c:pt>
                <c:pt idx="5181">
                  <c:v>43644</c:v>
                </c:pt>
                <c:pt idx="5182">
                  <c:v>43647</c:v>
                </c:pt>
                <c:pt idx="5183">
                  <c:v>43648</c:v>
                </c:pt>
                <c:pt idx="5184">
                  <c:v>43649</c:v>
                </c:pt>
                <c:pt idx="5185">
                  <c:v>43650</c:v>
                </c:pt>
                <c:pt idx="5186">
                  <c:v>43651</c:v>
                </c:pt>
                <c:pt idx="5187">
                  <c:v>43654</c:v>
                </c:pt>
                <c:pt idx="5188">
                  <c:v>43655</c:v>
                </c:pt>
                <c:pt idx="5189">
                  <c:v>43656</c:v>
                </c:pt>
                <c:pt idx="5190">
                  <c:v>43657</c:v>
                </c:pt>
                <c:pt idx="5191">
                  <c:v>43658</c:v>
                </c:pt>
                <c:pt idx="5192">
                  <c:v>43661</c:v>
                </c:pt>
                <c:pt idx="5193">
                  <c:v>43662</c:v>
                </c:pt>
                <c:pt idx="5194">
                  <c:v>43663</c:v>
                </c:pt>
                <c:pt idx="5195">
                  <c:v>43664</c:v>
                </c:pt>
                <c:pt idx="5196">
                  <c:v>43665</c:v>
                </c:pt>
                <c:pt idx="5197">
                  <c:v>43668</c:v>
                </c:pt>
                <c:pt idx="5198">
                  <c:v>43669</c:v>
                </c:pt>
                <c:pt idx="5199">
                  <c:v>43670</c:v>
                </c:pt>
                <c:pt idx="5200">
                  <c:v>43671</c:v>
                </c:pt>
                <c:pt idx="5201">
                  <c:v>43672</c:v>
                </c:pt>
                <c:pt idx="5202">
                  <c:v>43675</c:v>
                </c:pt>
                <c:pt idx="5203">
                  <c:v>43676</c:v>
                </c:pt>
                <c:pt idx="5204">
                  <c:v>43677</c:v>
                </c:pt>
                <c:pt idx="5205">
                  <c:v>43678</c:v>
                </c:pt>
                <c:pt idx="5206">
                  <c:v>43679</c:v>
                </c:pt>
                <c:pt idx="5207">
                  <c:v>43682</c:v>
                </c:pt>
                <c:pt idx="5208">
                  <c:v>43683</c:v>
                </c:pt>
                <c:pt idx="5209">
                  <c:v>43684</c:v>
                </c:pt>
                <c:pt idx="5210">
                  <c:v>43685</c:v>
                </c:pt>
                <c:pt idx="5211">
                  <c:v>43686</c:v>
                </c:pt>
                <c:pt idx="5212">
                  <c:v>43689</c:v>
                </c:pt>
                <c:pt idx="5213">
                  <c:v>43690</c:v>
                </c:pt>
                <c:pt idx="5214">
                  <c:v>43691</c:v>
                </c:pt>
                <c:pt idx="5215">
                  <c:v>43692</c:v>
                </c:pt>
                <c:pt idx="5216">
                  <c:v>43693</c:v>
                </c:pt>
                <c:pt idx="5217">
                  <c:v>43696</c:v>
                </c:pt>
                <c:pt idx="5218">
                  <c:v>43697</c:v>
                </c:pt>
                <c:pt idx="5219">
                  <c:v>43698</c:v>
                </c:pt>
                <c:pt idx="5220">
                  <c:v>43699</c:v>
                </c:pt>
                <c:pt idx="5221">
                  <c:v>43700</c:v>
                </c:pt>
                <c:pt idx="5222">
                  <c:v>43703</c:v>
                </c:pt>
                <c:pt idx="5223">
                  <c:v>43704</c:v>
                </c:pt>
                <c:pt idx="5224">
                  <c:v>43705</c:v>
                </c:pt>
                <c:pt idx="5225">
                  <c:v>43706</c:v>
                </c:pt>
                <c:pt idx="5226">
                  <c:v>43707</c:v>
                </c:pt>
                <c:pt idx="5227">
                  <c:v>43710</c:v>
                </c:pt>
                <c:pt idx="5228">
                  <c:v>43711</c:v>
                </c:pt>
                <c:pt idx="5229">
                  <c:v>43712</c:v>
                </c:pt>
                <c:pt idx="5230">
                  <c:v>43713</c:v>
                </c:pt>
                <c:pt idx="5231">
                  <c:v>43714</c:v>
                </c:pt>
                <c:pt idx="5232">
                  <c:v>43717</c:v>
                </c:pt>
                <c:pt idx="5233">
                  <c:v>43718</c:v>
                </c:pt>
                <c:pt idx="5234">
                  <c:v>43719</c:v>
                </c:pt>
                <c:pt idx="5235">
                  <c:v>43720</c:v>
                </c:pt>
                <c:pt idx="5236">
                  <c:v>43721</c:v>
                </c:pt>
                <c:pt idx="5237">
                  <c:v>43724</c:v>
                </c:pt>
                <c:pt idx="5238">
                  <c:v>43725</c:v>
                </c:pt>
                <c:pt idx="5239">
                  <c:v>43726</c:v>
                </c:pt>
                <c:pt idx="5240">
                  <c:v>43727</c:v>
                </c:pt>
                <c:pt idx="5241">
                  <c:v>43728</c:v>
                </c:pt>
                <c:pt idx="5242">
                  <c:v>43731</c:v>
                </c:pt>
                <c:pt idx="5243">
                  <c:v>43732</c:v>
                </c:pt>
                <c:pt idx="5244">
                  <c:v>43733</c:v>
                </c:pt>
                <c:pt idx="5245">
                  <c:v>43734</c:v>
                </c:pt>
                <c:pt idx="5246">
                  <c:v>43735</c:v>
                </c:pt>
                <c:pt idx="5247">
                  <c:v>43738</c:v>
                </c:pt>
                <c:pt idx="5248">
                  <c:v>43739</c:v>
                </c:pt>
                <c:pt idx="5249">
                  <c:v>43740</c:v>
                </c:pt>
                <c:pt idx="5250">
                  <c:v>43741</c:v>
                </c:pt>
                <c:pt idx="5251">
                  <c:v>43742</c:v>
                </c:pt>
                <c:pt idx="5252">
                  <c:v>43745</c:v>
                </c:pt>
                <c:pt idx="5253">
                  <c:v>43746</c:v>
                </c:pt>
                <c:pt idx="5254">
                  <c:v>43747</c:v>
                </c:pt>
                <c:pt idx="5255">
                  <c:v>43748</c:v>
                </c:pt>
                <c:pt idx="5256">
                  <c:v>43749</c:v>
                </c:pt>
                <c:pt idx="5257">
                  <c:v>43752</c:v>
                </c:pt>
                <c:pt idx="5258">
                  <c:v>43753</c:v>
                </c:pt>
                <c:pt idx="5259">
                  <c:v>43754</c:v>
                </c:pt>
                <c:pt idx="5260">
                  <c:v>43755</c:v>
                </c:pt>
                <c:pt idx="5261">
                  <c:v>43756</c:v>
                </c:pt>
                <c:pt idx="5262">
                  <c:v>43759</c:v>
                </c:pt>
                <c:pt idx="5263">
                  <c:v>43760</c:v>
                </c:pt>
                <c:pt idx="5264">
                  <c:v>43761</c:v>
                </c:pt>
                <c:pt idx="5265">
                  <c:v>43762</c:v>
                </c:pt>
                <c:pt idx="5266">
                  <c:v>43763</c:v>
                </c:pt>
                <c:pt idx="5267">
                  <c:v>43766</c:v>
                </c:pt>
                <c:pt idx="5268">
                  <c:v>43767</c:v>
                </c:pt>
                <c:pt idx="5269">
                  <c:v>43768</c:v>
                </c:pt>
                <c:pt idx="5270">
                  <c:v>43769</c:v>
                </c:pt>
                <c:pt idx="5271">
                  <c:v>43770</c:v>
                </c:pt>
                <c:pt idx="5272">
                  <c:v>43773</c:v>
                </c:pt>
                <c:pt idx="5273">
                  <c:v>43774</c:v>
                </c:pt>
                <c:pt idx="5274">
                  <c:v>43775</c:v>
                </c:pt>
                <c:pt idx="5275">
                  <c:v>43776</c:v>
                </c:pt>
                <c:pt idx="5276">
                  <c:v>43777</c:v>
                </c:pt>
                <c:pt idx="5277">
                  <c:v>43780</c:v>
                </c:pt>
                <c:pt idx="5278">
                  <c:v>43781</c:v>
                </c:pt>
                <c:pt idx="5279">
                  <c:v>43782</c:v>
                </c:pt>
                <c:pt idx="5280">
                  <c:v>43783</c:v>
                </c:pt>
                <c:pt idx="5281">
                  <c:v>43784</c:v>
                </c:pt>
                <c:pt idx="5282">
                  <c:v>43787</c:v>
                </c:pt>
                <c:pt idx="5283">
                  <c:v>43788</c:v>
                </c:pt>
                <c:pt idx="5284">
                  <c:v>43789</c:v>
                </c:pt>
                <c:pt idx="5285">
                  <c:v>43790</c:v>
                </c:pt>
                <c:pt idx="5286">
                  <c:v>43791</c:v>
                </c:pt>
                <c:pt idx="5287">
                  <c:v>43794</c:v>
                </c:pt>
                <c:pt idx="5288">
                  <c:v>43795</c:v>
                </c:pt>
                <c:pt idx="5289">
                  <c:v>43796</c:v>
                </c:pt>
                <c:pt idx="5290">
                  <c:v>43797</c:v>
                </c:pt>
                <c:pt idx="5291">
                  <c:v>43798</c:v>
                </c:pt>
                <c:pt idx="5292">
                  <c:v>43801</c:v>
                </c:pt>
                <c:pt idx="5293">
                  <c:v>43802</c:v>
                </c:pt>
                <c:pt idx="5294">
                  <c:v>43803</c:v>
                </c:pt>
                <c:pt idx="5295">
                  <c:v>43804</c:v>
                </c:pt>
                <c:pt idx="5296">
                  <c:v>43805</c:v>
                </c:pt>
                <c:pt idx="5297">
                  <c:v>43808</c:v>
                </c:pt>
                <c:pt idx="5298">
                  <c:v>43809</c:v>
                </c:pt>
                <c:pt idx="5299">
                  <c:v>43810</c:v>
                </c:pt>
                <c:pt idx="5300">
                  <c:v>43811</c:v>
                </c:pt>
                <c:pt idx="5301">
                  <c:v>43812</c:v>
                </c:pt>
                <c:pt idx="5302">
                  <c:v>43815</c:v>
                </c:pt>
                <c:pt idx="5303">
                  <c:v>43816</c:v>
                </c:pt>
                <c:pt idx="5304">
                  <c:v>43817</c:v>
                </c:pt>
                <c:pt idx="5305">
                  <c:v>43818</c:v>
                </c:pt>
                <c:pt idx="5306">
                  <c:v>43819</c:v>
                </c:pt>
                <c:pt idx="5307">
                  <c:v>43822</c:v>
                </c:pt>
                <c:pt idx="5308">
                  <c:v>43823</c:v>
                </c:pt>
                <c:pt idx="5309">
                  <c:v>43824</c:v>
                </c:pt>
                <c:pt idx="5310">
                  <c:v>43825</c:v>
                </c:pt>
                <c:pt idx="5311">
                  <c:v>43826</c:v>
                </c:pt>
                <c:pt idx="5312">
                  <c:v>43829</c:v>
                </c:pt>
                <c:pt idx="5313">
                  <c:v>43830</c:v>
                </c:pt>
                <c:pt idx="5314">
                  <c:v>43831</c:v>
                </c:pt>
                <c:pt idx="5315">
                  <c:v>43832</c:v>
                </c:pt>
                <c:pt idx="5316">
                  <c:v>43833</c:v>
                </c:pt>
                <c:pt idx="5317">
                  <c:v>43836</c:v>
                </c:pt>
                <c:pt idx="5318">
                  <c:v>43837</c:v>
                </c:pt>
                <c:pt idx="5319">
                  <c:v>43838</c:v>
                </c:pt>
                <c:pt idx="5320">
                  <c:v>43839</c:v>
                </c:pt>
                <c:pt idx="5321">
                  <c:v>43840</c:v>
                </c:pt>
                <c:pt idx="5322">
                  <c:v>43843</c:v>
                </c:pt>
                <c:pt idx="5323">
                  <c:v>43844</c:v>
                </c:pt>
                <c:pt idx="5324">
                  <c:v>43845</c:v>
                </c:pt>
                <c:pt idx="5325">
                  <c:v>43846</c:v>
                </c:pt>
                <c:pt idx="5326">
                  <c:v>43847</c:v>
                </c:pt>
                <c:pt idx="5327">
                  <c:v>43850</c:v>
                </c:pt>
                <c:pt idx="5328">
                  <c:v>43851</c:v>
                </c:pt>
                <c:pt idx="5329">
                  <c:v>43852</c:v>
                </c:pt>
                <c:pt idx="5330">
                  <c:v>43853</c:v>
                </c:pt>
                <c:pt idx="5331">
                  <c:v>43854</c:v>
                </c:pt>
                <c:pt idx="5332">
                  <c:v>43857</c:v>
                </c:pt>
                <c:pt idx="5333">
                  <c:v>43858</c:v>
                </c:pt>
                <c:pt idx="5334">
                  <c:v>43859</c:v>
                </c:pt>
                <c:pt idx="5335">
                  <c:v>43860</c:v>
                </c:pt>
                <c:pt idx="5336">
                  <c:v>43861</c:v>
                </c:pt>
                <c:pt idx="5337">
                  <c:v>43864</c:v>
                </c:pt>
                <c:pt idx="5338">
                  <c:v>43865</c:v>
                </c:pt>
                <c:pt idx="5339">
                  <c:v>43866</c:v>
                </c:pt>
                <c:pt idx="5340">
                  <c:v>43867</c:v>
                </c:pt>
                <c:pt idx="5341">
                  <c:v>43868</c:v>
                </c:pt>
                <c:pt idx="5342">
                  <c:v>43871</c:v>
                </c:pt>
                <c:pt idx="5343">
                  <c:v>43872</c:v>
                </c:pt>
                <c:pt idx="5344">
                  <c:v>43873</c:v>
                </c:pt>
                <c:pt idx="5345">
                  <c:v>43874</c:v>
                </c:pt>
                <c:pt idx="5346">
                  <c:v>43875</c:v>
                </c:pt>
                <c:pt idx="5347">
                  <c:v>43878</c:v>
                </c:pt>
                <c:pt idx="5348">
                  <c:v>43879</c:v>
                </c:pt>
                <c:pt idx="5349">
                  <c:v>43880</c:v>
                </c:pt>
                <c:pt idx="5350">
                  <c:v>43881</c:v>
                </c:pt>
                <c:pt idx="5351">
                  <c:v>43882</c:v>
                </c:pt>
                <c:pt idx="5352">
                  <c:v>43885</c:v>
                </c:pt>
                <c:pt idx="5353">
                  <c:v>43886</c:v>
                </c:pt>
                <c:pt idx="5354">
                  <c:v>43887</c:v>
                </c:pt>
                <c:pt idx="5355">
                  <c:v>43888</c:v>
                </c:pt>
                <c:pt idx="5356">
                  <c:v>43889</c:v>
                </c:pt>
                <c:pt idx="5357">
                  <c:v>43892</c:v>
                </c:pt>
                <c:pt idx="5358">
                  <c:v>43893</c:v>
                </c:pt>
                <c:pt idx="5359">
                  <c:v>43894</c:v>
                </c:pt>
                <c:pt idx="5360">
                  <c:v>43895</c:v>
                </c:pt>
                <c:pt idx="5361">
                  <c:v>43896</c:v>
                </c:pt>
                <c:pt idx="5362">
                  <c:v>43899</c:v>
                </c:pt>
                <c:pt idx="5363">
                  <c:v>43900</c:v>
                </c:pt>
                <c:pt idx="5364">
                  <c:v>43901</c:v>
                </c:pt>
                <c:pt idx="5365">
                  <c:v>43902</c:v>
                </c:pt>
                <c:pt idx="5366">
                  <c:v>43903</c:v>
                </c:pt>
                <c:pt idx="5367">
                  <c:v>43906</c:v>
                </c:pt>
                <c:pt idx="5368">
                  <c:v>43907</c:v>
                </c:pt>
                <c:pt idx="5369">
                  <c:v>43908</c:v>
                </c:pt>
                <c:pt idx="5370">
                  <c:v>43909</c:v>
                </c:pt>
                <c:pt idx="5371">
                  <c:v>43910</c:v>
                </c:pt>
                <c:pt idx="5372">
                  <c:v>43913</c:v>
                </c:pt>
                <c:pt idx="5373">
                  <c:v>43914</c:v>
                </c:pt>
                <c:pt idx="5374">
                  <c:v>43915</c:v>
                </c:pt>
                <c:pt idx="5375">
                  <c:v>43916</c:v>
                </c:pt>
                <c:pt idx="5376">
                  <c:v>43917</c:v>
                </c:pt>
                <c:pt idx="5377">
                  <c:v>43920</c:v>
                </c:pt>
                <c:pt idx="5378">
                  <c:v>43921</c:v>
                </c:pt>
                <c:pt idx="5379">
                  <c:v>43922</c:v>
                </c:pt>
                <c:pt idx="5380">
                  <c:v>43923</c:v>
                </c:pt>
                <c:pt idx="5381">
                  <c:v>43924</c:v>
                </c:pt>
                <c:pt idx="5382">
                  <c:v>43927</c:v>
                </c:pt>
                <c:pt idx="5383">
                  <c:v>43928</c:v>
                </c:pt>
                <c:pt idx="5384">
                  <c:v>43929</c:v>
                </c:pt>
                <c:pt idx="5385">
                  <c:v>43930</c:v>
                </c:pt>
                <c:pt idx="5386">
                  <c:v>43931</c:v>
                </c:pt>
                <c:pt idx="5387">
                  <c:v>43934</c:v>
                </c:pt>
                <c:pt idx="5388">
                  <c:v>43935</c:v>
                </c:pt>
                <c:pt idx="5389">
                  <c:v>43936</c:v>
                </c:pt>
                <c:pt idx="5390">
                  <c:v>43937</c:v>
                </c:pt>
                <c:pt idx="5391">
                  <c:v>43938</c:v>
                </c:pt>
                <c:pt idx="5392">
                  <c:v>43941</c:v>
                </c:pt>
                <c:pt idx="5393">
                  <c:v>43942</c:v>
                </c:pt>
                <c:pt idx="5394">
                  <c:v>43943</c:v>
                </c:pt>
                <c:pt idx="5395">
                  <c:v>43944</c:v>
                </c:pt>
                <c:pt idx="5396">
                  <c:v>43945</c:v>
                </c:pt>
                <c:pt idx="5397">
                  <c:v>43948</c:v>
                </c:pt>
                <c:pt idx="5398">
                  <c:v>43949</c:v>
                </c:pt>
                <c:pt idx="5399">
                  <c:v>43950</c:v>
                </c:pt>
                <c:pt idx="5400">
                  <c:v>43951</c:v>
                </c:pt>
                <c:pt idx="5401">
                  <c:v>43952</c:v>
                </c:pt>
                <c:pt idx="5402">
                  <c:v>43955</c:v>
                </c:pt>
                <c:pt idx="5403">
                  <c:v>43956</c:v>
                </c:pt>
                <c:pt idx="5404">
                  <c:v>43957</c:v>
                </c:pt>
                <c:pt idx="5405">
                  <c:v>43958</c:v>
                </c:pt>
                <c:pt idx="5406">
                  <c:v>43959</c:v>
                </c:pt>
                <c:pt idx="5407">
                  <c:v>43962</c:v>
                </c:pt>
                <c:pt idx="5408">
                  <c:v>43963</c:v>
                </c:pt>
                <c:pt idx="5409">
                  <c:v>43964</c:v>
                </c:pt>
                <c:pt idx="5410">
                  <c:v>43965</c:v>
                </c:pt>
                <c:pt idx="5411">
                  <c:v>43966</c:v>
                </c:pt>
                <c:pt idx="5412">
                  <c:v>43969</c:v>
                </c:pt>
                <c:pt idx="5413">
                  <c:v>43970</c:v>
                </c:pt>
                <c:pt idx="5414">
                  <c:v>43971</c:v>
                </c:pt>
                <c:pt idx="5415">
                  <c:v>43972</c:v>
                </c:pt>
                <c:pt idx="5416">
                  <c:v>43973</c:v>
                </c:pt>
                <c:pt idx="5417">
                  <c:v>43976</c:v>
                </c:pt>
                <c:pt idx="5418">
                  <c:v>43977</c:v>
                </c:pt>
                <c:pt idx="5419">
                  <c:v>43978</c:v>
                </c:pt>
                <c:pt idx="5420">
                  <c:v>43979</c:v>
                </c:pt>
                <c:pt idx="5421">
                  <c:v>43980</c:v>
                </c:pt>
                <c:pt idx="5422">
                  <c:v>43983</c:v>
                </c:pt>
                <c:pt idx="5423">
                  <c:v>43984</c:v>
                </c:pt>
                <c:pt idx="5424">
                  <c:v>43985</c:v>
                </c:pt>
                <c:pt idx="5425">
                  <c:v>43986</c:v>
                </c:pt>
                <c:pt idx="5426">
                  <c:v>43987</c:v>
                </c:pt>
                <c:pt idx="5427">
                  <c:v>43990</c:v>
                </c:pt>
                <c:pt idx="5428">
                  <c:v>43991</c:v>
                </c:pt>
                <c:pt idx="5429">
                  <c:v>43992</c:v>
                </c:pt>
                <c:pt idx="5430">
                  <c:v>43993</c:v>
                </c:pt>
                <c:pt idx="5431">
                  <c:v>43994</c:v>
                </c:pt>
                <c:pt idx="5432">
                  <c:v>43997</c:v>
                </c:pt>
                <c:pt idx="5433">
                  <c:v>43998</c:v>
                </c:pt>
                <c:pt idx="5434">
                  <c:v>43999</c:v>
                </c:pt>
                <c:pt idx="5435">
                  <c:v>44000</c:v>
                </c:pt>
                <c:pt idx="5436">
                  <c:v>44001</c:v>
                </c:pt>
                <c:pt idx="5437">
                  <c:v>44004</c:v>
                </c:pt>
                <c:pt idx="5438">
                  <c:v>44005</c:v>
                </c:pt>
                <c:pt idx="5439">
                  <c:v>44006</c:v>
                </c:pt>
                <c:pt idx="5440">
                  <c:v>44007</c:v>
                </c:pt>
                <c:pt idx="5441">
                  <c:v>44008</c:v>
                </c:pt>
                <c:pt idx="5442">
                  <c:v>44011</c:v>
                </c:pt>
                <c:pt idx="5443">
                  <c:v>44012</c:v>
                </c:pt>
                <c:pt idx="5444">
                  <c:v>44013</c:v>
                </c:pt>
                <c:pt idx="5445">
                  <c:v>44014</c:v>
                </c:pt>
                <c:pt idx="5446">
                  <c:v>44015</c:v>
                </c:pt>
                <c:pt idx="5447">
                  <c:v>44018</c:v>
                </c:pt>
                <c:pt idx="5448">
                  <c:v>44019</c:v>
                </c:pt>
                <c:pt idx="5449">
                  <c:v>44020</c:v>
                </c:pt>
                <c:pt idx="5450">
                  <c:v>44021</c:v>
                </c:pt>
                <c:pt idx="5451">
                  <c:v>44022</c:v>
                </c:pt>
                <c:pt idx="5452">
                  <c:v>44025</c:v>
                </c:pt>
                <c:pt idx="5453">
                  <c:v>44026</c:v>
                </c:pt>
                <c:pt idx="5454">
                  <c:v>44027</c:v>
                </c:pt>
                <c:pt idx="5455">
                  <c:v>44028</c:v>
                </c:pt>
                <c:pt idx="5456">
                  <c:v>44029</c:v>
                </c:pt>
                <c:pt idx="5457">
                  <c:v>44032</c:v>
                </c:pt>
                <c:pt idx="5458">
                  <c:v>44033</c:v>
                </c:pt>
                <c:pt idx="5459">
                  <c:v>44034</c:v>
                </c:pt>
                <c:pt idx="5460">
                  <c:v>44035</c:v>
                </c:pt>
                <c:pt idx="5461">
                  <c:v>44036</c:v>
                </c:pt>
                <c:pt idx="5462">
                  <c:v>44039</c:v>
                </c:pt>
                <c:pt idx="5463">
                  <c:v>44040</c:v>
                </c:pt>
                <c:pt idx="5464">
                  <c:v>44041</c:v>
                </c:pt>
                <c:pt idx="5465">
                  <c:v>44042</c:v>
                </c:pt>
                <c:pt idx="5466">
                  <c:v>44043</c:v>
                </c:pt>
                <c:pt idx="5467">
                  <c:v>44046</c:v>
                </c:pt>
                <c:pt idx="5468">
                  <c:v>44047</c:v>
                </c:pt>
                <c:pt idx="5469">
                  <c:v>44048</c:v>
                </c:pt>
                <c:pt idx="5470">
                  <c:v>44049</c:v>
                </c:pt>
                <c:pt idx="5471">
                  <c:v>44050</c:v>
                </c:pt>
                <c:pt idx="5472">
                  <c:v>44053</c:v>
                </c:pt>
                <c:pt idx="5473">
                  <c:v>44054</c:v>
                </c:pt>
                <c:pt idx="5474">
                  <c:v>44055</c:v>
                </c:pt>
                <c:pt idx="5475">
                  <c:v>44056</c:v>
                </c:pt>
                <c:pt idx="5476">
                  <c:v>44057</c:v>
                </c:pt>
                <c:pt idx="5477">
                  <c:v>44060</c:v>
                </c:pt>
                <c:pt idx="5478">
                  <c:v>44061</c:v>
                </c:pt>
                <c:pt idx="5479">
                  <c:v>44062</c:v>
                </c:pt>
                <c:pt idx="5480">
                  <c:v>44063</c:v>
                </c:pt>
                <c:pt idx="5481">
                  <c:v>44064</c:v>
                </c:pt>
                <c:pt idx="5482">
                  <c:v>44067</c:v>
                </c:pt>
                <c:pt idx="5483">
                  <c:v>44068</c:v>
                </c:pt>
                <c:pt idx="5484">
                  <c:v>44069</c:v>
                </c:pt>
                <c:pt idx="5485">
                  <c:v>44070</c:v>
                </c:pt>
                <c:pt idx="5486">
                  <c:v>44071</c:v>
                </c:pt>
                <c:pt idx="5487">
                  <c:v>44074</c:v>
                </c:pt>
                <c:pt idx="5488">
                  <c:v>44075</c:v>
                </c:pt>
                <c:pt idx="5489">
                  <c:v>44076</c:v>
                </c:pt>
                <c:pt idx="5490">
                  <c:v>44077</c:v>
                </c:pt>
                <c:pt idx="5491">
                  <c:v>44078</c:v>
                </c:pt>
                <c:pt idx="5492">
                  <c:v>44081</c:v>
                </c:pt>
                <c:pt idx="5493">
                  <c:v>44082</c:v>
                </c:pt>
                <c:pt idx="5494">
                  <c:v>44083</c:v>
                </c:pt>
                <c:pt idx="5495">
                  <c:v>44084</c:v>
                </c:pt>
                <c:pt idx="5496">
                  <c:v>44085</c:v>
                </c:pt>
                <c:pt idx="5497">
                  <c:v>44088</c:v>
                </c:pt>
                <c:pt idx="5498">
                  <c:v>44089</c:v>
                </c:pt>
                <c:pt idx="5499">
                  <c:v>44090</c:v>
                </c:pt>
                <c:pt idx="5500">
                  <c:v>44091</c:v>
                </c:pt>
                <c:pt idx="5501">
                  <c:v>44092</c:v>
                </c:pt>
                <c:pt idx="5502">
                  <c:v>44095</c:v>
                </c:pt>
                <c:pt idx="5503">
                  <c:v>44096</c:v>
                </c:pt>
                <c:pt idx="5504">
                  <c:v>44097</c:v>
                </c:pt>
                <c:pt idx="5505">
                  <c:v>44098</c:v>
                </c:pt>
                <c:pt idx="5506">
                  <c:v>44099</c:v>
                </c:pt>
                <c:pt idx="5507">
                  <c:v>44102</c:v>
                </c:pt>
                <c:pt idx="5508">
                  <c:v>44103</c:v>
                </c:pt>
                <c:pt idx="5509">
                  <c:v>44104</c:v>
                </c:pt>
                <c:pt idx="5510">
                  <c:v>44105</c:v>
                </c:pt>
                <c:pt idx="5511">
                  <c:v>44106</c:v>
                </c:pt>
                <c:pt idx="5512">
                  <c:v>44109</c:v>
                </c:pt>
                <c:pt idx="5513">
                  <c:v>44110</c:v>
                </c:pt>
                <c:pt idx="5514">
                  <c:v>44111</c:v>
                </c:pt>
                <c:pt idx="5515">
                  <c:v>44112</c:v>
                </c:pt>
                <c:pt idx="5516">
                  <c:v>44113</c:v>
                </c:pt>
                <c:pt idx="5517">
                  <c:v>44116</c:v>
                </c:pt>
                <c:pt idx="5518">
                  <c:v>44117</c:v>
                </c:pt>
                <c:pt idx="5519">
                  <c:v>44118</c:v>
                </c:pt>
                <c:pt idx="5520">
                  <c:v>44119</c:v>
                </c:pt>
                <c:pt idx="5521">
                  <c:v>44120</c:v>
                </c:pt>
                <c:pt idx="5522">
                  <c:v>44123</c:v>
                </c:pt>
                <c:pt idx="5523">
                  <c:v>44124</c:v>
                </c:pt>
                <c:pt idx="5524">
                  <c:v>44125</c:v>
                </c:pt>
                <c:pt idx="5525">
                  <c:v>44126</c:v>
                </c:pt>
                <c:pt idx="5526">
                  <c:v>44127</c:v>
                </c:pt>
                <c:pt idx="5527">
                  <c:v>44130</c:v>
                </c:pt>
                <c:pt idx="5528">
                  <c:v>44131</c:v>
                </c:pt>
                <c:pt idx="5529">
                  <c:v>44132</c:v>
                </c:pt>
                <c:pt idx="5530">
                  <c:v>44133</c:v>
                </c:pt>
                <c:pt idx="5531">
                  <c:v>44134</c:v>
                </c:pt>
                <c:pt idx="5532">
                  <c:v>44137</c:v>
                </c:pt>
                <c:pt idx="5533">
                  <c:v>44138</c:v>
                </c:pt>
                <c:pt idx="5534">
                  <c:v>44139</c:v>
                </c:pt>
                <c:pt idx="5535">
                  <c:v>44140</c:v>
                </c:pt>
                <c:pt idx="5536">
                  <c:v>44141</c:v>
                </c:pt>
                <c:pt idx="5537">
                  <c:v>44144</c:v>
                </c:pt>
                <c:pt idx="5538">
                  <c:v>44145</c:v>
                </c:pt>
                <c:pt idx="5539">
                  <c:v>44146</c:v>
                </c:pt>
                <c:pt idx="5540">
                  <c:v>44147</c:v>
                </c:pt>
                <c:pt idx="5541">
                  <c:v>44148</c:v>
                </c:pt>
                <c:pt idx="5542">
                  <c:v>44151</c:v>
                </c:pt>
                <c:pt idx="5543">
                  <c:v>44152</c:v>
                </c:pt>
                <c:pt idx="5544">
                  <c:v>44153</c:v>
                </c:pt>
                <c:pt idx="5545">
                  <c:v>44154</c:v>
                </c:pt>
                <c:pt idx="5546">
                  <c:v>44155</c:v>
                </c:pt>
                <c:pt idx="5547">
                  <c:v>44158</c:v>
                </c:pt>
                <c:pt idx="5548">
                  <c:v>44159</c:v>
                </c:pt>
                <c:pt idx="5549">
                  <c:v>44160</c:v>
                </c:pt>
                <c:pt idx="5550">
                  <c:v>44161</c:v>
                </c:pt>
                <c:pt idx="5551">
                  <c:v>44162</c:v>
                </c:pt>
                <c:pt idx="5552">
                  <c:v>44165</c:v>
                </c:pt>
                <c:pt idx="5553">
                  <c:v>44166</c:v>
                </c:pt>
                <c:pt idx="5554">
                  <c:v>44167</c:v>
                </c:pt>
                <c:pt idx="5555">
                  <c:v>44168</c:v>
                </c:pt>
                <c:pt idx="5556">
                  <c:v>44169</c:v>
                </c:pt>
                <c:pt idx="5557">
                  <c:v>44172</c:v>
                </c:pt>
                <c:pt idx="5558">
                  <c:v>44173</c:v>
                </c:pt>
                <c:pt idx="5559">
                  <c:v>44174</c:v>
                </c:pt>
                <c:pt idx="5560">
                  <c:v>44175</c:v>
                </c:pt>
                <c:pt idx="5561">
                  <c:v>44176</c:v>
                </c:pt>
                <c:pt idx="5562">
                  <c:v>44179</c:v>
                </c:pt>
                <c:pt idx="5563">
                  <c:v>44180</c:v>
                </c:pt>
                <c:pt idx="5564">
                  <c:v>44181</c:v>
                </c:pt>
                <c:pt idx="5565">
                  <c:v>44182</c:v>
                </c:pt>
                <c:pt idx="5566">
                  <c:v>44183</c:v>
                </c:pt>
                <c:pt idx="5567">
                  <c:v>44186</c:v>
                </c:pt>
                <c:pt idx="5568">
                  <c:v>44187</c:v>
                </c:pt>
                <c:pt idx="5569">
                  <c:v>44188</c:v>
                </c:pt>
                <c:pt idx="5570">
                  <c:v>44189</c:v>
                </c:pt>
                <c:pt idx="5571">
                  <c:v>44190</c:v>
                </c:pt>
                <c:pt idx="5572">
                  <c:v>44193</c:v>
                </c:pt>
                <c:pt idx="5573">
                  <c:v>44194</c:v>
                </c:pt>
                <c:pt idx="5574">
                  <c:v>44195</c:v>
                </c:pt>
                <c:pt idx="5575">
                  <c:v>44196</c:v>
                </c:pt>
                <c:pt idx="5576">
                  <c:v>44197</c:v>
                </c:pt>
                <c:pt idx="5577">
                  <c:v>44200</c:v>
                </c:pt>
                <c:pt idx="5578">
                  <c:v>44201</c:v>
                </c:pt>
                <c:pt idx="5579">
                  <c:v>44202</c:v>
                </c:pt>
                <c:pt idx="5580">
                  <c:v>44203</c:v>
                </c:pt>
                <c:pt idx="5581">
                  <c:v>44204</c:v>
                </c:pt>
                <c:pt idx="5582">
                  <c:v>44207</c:v>
                </c:pt>
                <c:pt idx="5583">
                  <c:v>44208</c:v>
                </c:pt>
                <c:pt idx="5584">
                  <c:v>44209</c:v>
                </c:pt>
                <c:pt idx="5585">
                  <c:v>44210</c:v>
                </c:pt>
                <c:pt idx="5586">
                  <c:v>44211</c:v>
                </c:pt>
                <c:pt idx="5587">
                  <c:v>44214</c:v>
                </c:pt>
                <c:pt idx="5588">
                  <c:v>44215</c:v>
                </c:pt>
                <c:pt idx="5589">
                  <c:v>44216</c:v>
                </c:pt>
                <c:pt idx="5590">
                  <c:v>44217</c:v>
                </c:pt>
                <c:pt idx="5591">
                  <c:v>44218</c:v>
                </c:pt>
                <c:pt idx="5592">
                  <c:v>44221</c:v>
                </c:pt>
                <c:pt idx="5593">
                  <c:v>44222</c:v>
                </c:pt>
                <c:pt idx="5594">
                  <c:v>44223</c:v>
                </c:pt>
                <c:pt idx="5595">
                  <c:v>44224</c:v>
                </c:pt>
                <c:pt idx="5596">
                  <c:v>44225</c:v>
                </c:pt>
                <c:pt idx="5597">
                  <c:v>44228</c:v>
                </c:pt>
                <c:pt idx="5598">
                  <c:v>44229</c:v>
                </c:pt>
                <c:pt idx="5599">
                  <c:v>44230</c:v>
                </c:pt>
                <c:pt idx="5600">
                  <c:v>44231</c:v>
                </c:pt>
                <c:pt idx="5601">
                  <c:v>44232</c:v>
                </c:pt>
                <c:pt idx="5602">
                  <c:v>44235</c:v>
                </c:pt>
                <c:pt idx="5603">
                  <c:v>44236</c:v>
                </c:pt>
                <c:pt idx="5604">
                  <c:v>44237</c:v>
                </c:pt>
                <c:pt idx="5605">
                  <c:v>44238</c:v>
                </c:pt>
                <c:pt idx="5606">
                  <c:v>44239</c:v>
                </c:pt>
                <c:pt idx="5607">
                  <c:v>44242</c:v>
                </c:pt>
                <c:pt idx="5608">
                  <c:v>44243</c:v>
                </c:pt>
                <c:pt idx="5609">
                  <c:v>44244</c:v>
                </c:pt>
                <c:pt idx="5610">
                  <c:v>44245</c:v>
                </c:pt>
                <c:pt idx="5611">
                  <c:v>44246</c:v>
                </c:pt>
                <c:pt idx="5612">
                  <c:v>44249</c:v>
                </c:pt>
                <c:pt idx="5613">
                  <c:v>44250</c:v>
                </c:pt>
                <c:pt idx="5614">
                  <c:v>44251</c:v>
                </c:pt>
                <c:pt idx="5615">
                  <c:v>44252</c:v>
                </c:pt>
                <c:pt idx="5616">
                  <c:v>44253</c:v>
                </c:pt>
                <c:pt idx="5617">
                  <c:v>44256</c:v>
                </c:pt>
                <c:pt idx="5618">
                  <c:v>44257</c:v>
                </c:pt>
                <c:pt idx="5619">
                  <c:v>44258</c:v>
                </c:pt>
                <c:pt idx="5620">
                  <c:v>44259</c:v>
                </c:pt>
                <c:pt idx="5621">
                  <c:v>44260</c:v>
                </c:pt>
                <c:pt idx="5622">
                  <c:v>44263</c:v>
                </c:pt>
                <c:pt idx="5623">
                  <c:v>44264</c:v>
                </c:pt>
                <c:pt idx="5624">
                  <c:v>44265</c:v>
                </c:pt>
                <c:pt idx="5625">
                  <c:v>44266</c:v>
                </c:pt>
                <c:pt idx="5626">
                  <c:v>44267</c:v>
                </c:pt>
                <c:pt idx="5627">
                  <c:v>44270</c:v>
                </c:pt>
                <c:pt idx="5628">
                  <c:v>44271</c:v>
                </c:pt>
                <c:pt idx="5629">
                  <c:v>44272</c:v>
                </c:pt>
                <c:pt idx="5630">
                  <c:v>44273</c:v>
                </c:pt>
                <c:pt idx="5631">
                  <c:v>44274</c:v>
                </c:pt>
                <c:pt idx="5632">
                  <c:v>44277</c:v>
                </c:pt>
                <c:pt idx="5633">
                  <c:v>44278</c:v>
                </c:pt>
                <c:pt idx="5634">
                  <c:v>44279</c:v>
                </c:pt>
                <c:pt idx="5635">
                  <c:v>44280</c:v>
                </c:pt>
                <c:pt idx="5636">
                  <c:v>44281</c:v>
                </c:pt>
                <c:pt idx="5637">
                  <c:v>44284</c:v>
                </c:pt>
                <c:pt idx="5638">
                  <c:v>44285</c:v>
                </c:pt>
                <c:pt idx="5639">
                  <c:v>44286</c:v>
                </c:pt>
                <c:pt idx="5640">
                  <c:v>44287</c:v>
                </c:pt>
                <c:pt idx="5641">
                  <c:v>44288</c:v>
                </c:pt>
                <c:pt idx="5642">
                  <c:v>44291</c:v>
                </c:pt>
                <c:pt idx="5643">
                  <c:v>44292</c:v>
                </c:pt>
                <c:pt idx="5644">
                  <c:v>44293</c:v>
                </c:pt>
                <c:pt idx="5645">
                  <c:v>44294</c:v>
                </c:pt>
                <c:pt idx="5646">
                  <c:v>44295</c:v>
                </c:pt>
                <c:pt idx="5647">
                  <c:v>44298</c:v>
                </c:pt>
                <c:pt idx="5648">
                  <c:v>44299</c:v>
                </c:pt>
                <c:pt idx="5649">
                  <c:v>44300</c:v>
                </c:pt>
                <c:pt idx="5650">
                  <c:v>44301</c:v>
                </c:pt>
                <c:pt idx="5651">
                  <c:v>44302</c:v>
                </c:pt>
                <c:pt idx="5652">
                  <c:v>44305</c:v>
                </c:pt>
                <c:pt idx="5653">
                  <c:v>44306</c:v>
                </c:pt>
                <c:pt idx="5654">
                  <c:v>44307</c:v>
                </c:pt>
                <c:pt idx="5655">
                  <c:v>44308</c:v>
                </c:pt>
                <c:pt idx="5656">
                  <c:v>44309</c:v>
                </c:pt>
                <c:pt idx="5657">
                  <c:v>44312</c:v>
                </c:pt>
                <c:pt idx="5658">
                  <c:v>44313</c:v>
                </c:pt>
                <c:pt idx="5659">
                  <c:v>44314</c:v>
                </c:pt>
                <c:pt idx="5660">
                  <c:v>44315</c:v>
                </c:pt>
                <c:pt idx="5661">
                  <c:v>44316</c:v>
                </c:pt>
                <c:pt idx="5662">
                  <c:v>44319</c:v>
                </c:pt>
                <c:pt idx="5663">
                  <c:v>44320</c:v>
                </c:pt>
                <c:pt idx="5664">
                  <c:v>44321</c:v>
                </c:pt>
                <c:pt idx="5665">
                  <c:v>44322</c:v>
                </c:pt>
                <c:pt idx="5666">
                  <c:v>44323</c:v>
                </c:pt>
                <c:pt idx="5667">
                  <c:v>44326</c:v>
                </c:pt>
                <c:pt idx="5668">
                  <c:v>44327</c:v>
                </c:pt>
                <c:pt idx="5669">
                  <c:v>44328</c:v>
                </c:pt>
                <c:pt idx="5670">
                  <c:v>44329</c:v>
                </c:pt>
                <c:pt idx="5671">
                  <c:v>44330</c:v>
                </c:pt>
                <c:pt idx="5672">
                  <c:v>44333</c:v>
                </c:pt>
                <c:pt idx="5673">
                  <c:v>44334</c:v>
                </c:pt>
                <c:pt idx="5674">
                  <c:v>44335</c:v>
                </c:pt>
                <c:pt idx="5675">
                  <c:v>44336</c:v>
                </c:pt>
                <c:pt idx="5676">
                  <c:v>44337</c:v>
                </c:pt>
                <c:pt idx="5677">
                  <c:v>44340</c:v>
                </c:pt>
                <c:pt idx="5678">
                  <c:v>44341</c:v>
                </c:pt>
                <c:pt idx="5679">
                  <c:v>44342</c:v>
                </c:pt>
                <c:pt idx="5680">
                  <c:v>44343</c:v>
                </c:pt>
                <c:pt idx="5681">
                  <c:v>44344</c:v>
                </c:pt>
                <c:pt idx="5682">
                  <c:v>44347</c:v>
                </c:pt>
                <c:pt idx="5683">
                  <c:v>44348</c:v>
                </c:pt>
                <c:pt idx="5684">
                  <c:v>44349</c:v>
                </c:pt>
                <c:pt idx="5685">
                  <c:v>44350</c:v>
                </c:pt>
                <c:pt idx="5686">
                  <c:v>44351</c:v>
                </c:pt>
                <c:pt idx="5687">
                  <c:v>44354</c:v>
                </c:pt>
                <c:pt idx="5688">
                  <c:v>44355</c:v>
                </c:pt>
                <c:pt idx="5689">
                  <c:v>44356</c:v>
                </c:pt>
                <c:pt idx="5690">
                  <c:v>44357</c:v>
                </c:pt>
                <c:pt idx="5691">
                  <c:v>44358</c:v>
                </c:pt>
                <c:pt idx="5692">
                  <c:v>44361</c:v>
                </c:pt>
                <c:pt idx="5693">
                  <c:v>44362</c:v>
                </c:pt>
                <c:pt idx="5694">
                  <c:v>44363</c:v>
                </c:pt>
                <c:pt idx="5695">
                  <c:v>44364</c:v>
                </c:pt>
                <c:pt idx="5696">
                  <c:v>44365</c:v>
                </c:pt>
                <c:pt idx="5697">
                  <c:v>44368</c:v>
                </c:pt>
                <c:pt idx="5698">
                  <c:v>44369</c:v>
                </c:pt>
                <c:pt idx="5699">
                  <c:v>44370</c:v>
                </c:pt>
                <c:pt idx="5700">
                  <c:v>44371</c:v>
                </c:pt>
                <c:pt idx="5701">
                  <c:v>44372</c:v>
                </c:pt>
                <c:pt idx="5702">
                  <c:v>44375</c:v>
                </c:pt>
                <c:pt idx="5703">
                  <c:v>44376</c:v>
                </c:pt>
                <c:pt idx="5704">
                  <c:v>44377</c:v>
                </c:pt>
                <c:pt idx="5705">
                  <c:v>44378</c:v>
                </c:pt>
                <c:pt idx="5706">
                  <c:v>44379</c:v>
                </c:pt>
                <c:pt idx="5707">
                  <c:v>44382</c:v>
                </c:pt>
                <c:pt idx="5708">
                  <c:v>44383</c:v>
                </c:pt>
                <c:pt idx="5709">
                  <c:v>44384</c:v>
                </c:pt>
                <c:pt idx="5710">
                  <c:v>44385</c:v>
                </c:pt>
                <c:pt idx="5711">
                  <c:v>44386</c:v>
                </c:pt>
                <c:pt idx="5712">
                  <c:v>44389</c:v>
                </c:pt>
                <c:pt idx="5713">
                  <c:v>44390</c:v>
                </c:pt>
                <c:pt idx="5714">
                  <c:v>44391</c:v>
                </c:pt>
                <c:pt idx="5715">
                  <c:v>44392</c:v>
                </c:pt>
                <c:pt idx="5716">
                  <c:v>44393</c:v>
                </c:pt>
                <c:pt idx="5717">
                  <c:v>44396</c:v>
                </c:pt>
                <c:pt idx="5718">
                  <c:v>44397</c:v>
                </c:pt>
                <c:pt idx="5719">
                  <c:v>44398</c:v>
                </c:pt>
                <c:pt idx="5720">
                  <c:v>44399</c:v>
                </c:pt>
                <c:pt idx="5721">
                  <c:v>44400</c:v>
                </c:pt>
                <c:pt idx="5722">
                  <c:v>44403</c:v>
                </c:pt>
                <c:pt idx="5723">
                  <c:v>44404</c:v>
                </c:pt>
                <c:pt idx="5724">
                  <c:v>44405</c:v>
                </c:pt>
                <c:pt idx="5725">
                  <c:v>44406</c:v>
                </c:pt>
                <c:pt idx="5726">
                  <c:v>44407</c:v>
                </c:pt>
                <c:pt idx="5727">
                  <c:v>44410</c:v>
                </c:pt>
                <c:pt idx="5728">
                  <c:v>44411</c:v>
                </c:pt>
                <c:pt idx="5729">
                  <c:v>44412</c:v>
                </c:pt>
                <c:pt idx="5730">
                  <c:v>44413</c:v>
                </c:pt>
                <c:pt idx="5731">
                  <c:v>44414</c:v>
                </c:pt>
                <c:pt idx="5732">
                  <c:v>44417</c:v>
                </c:pt>
                <c:pt idx="5733">
                  <c:v>44418</c:v>
                </c:pt>
                <c:pt idx="5734">
                  <c:v>44419</c:v>
                </c:pt>
                <c:pt idx="5735">
                  <c:v>44420</c:v>
                </c:pt>
                <c:pt idx="5736">
                  <c:v>44421</c:v>
                </c:pt>
                <c:pt idx="5737">
                  <c:v>44424</c:v>
                </c:pt>
                <c:pt idx="5738">
                  <c:v>44425</c:v>
                </c:pt>
                <c:pt idx="5739">
                  <c:v>44426</c:v>
                </c:pt>
                <c:pt idx="5740">
                  <c:v>44427</c:v>
                </c:pt>
              </c:numCache>
            </c:numRef>
          </c:cat>
          <c:val>
            <c:numRef>
              <c:f>'Double Trouble'!$C$3:$C$5743</c:f>
              <c:numCache>
                <c:formatCode>General</c:formatCode>
                <c:ptCount val="5741"/>
                <c:pt idx="0">
                  <c:v>1323.59</c:v>
                </c:pt>
                <c:pt idx="1">
                  <c:v>1336.61</c:v>
                </c:pt>
                <c:pt idx="2">
                  <c:v>1360.22</c:v>
                </c:pt>
                <c:pt idx="3">
                  <c:v>1363.5</c:v>
                </c:pt>
                <c:pt idx="4">
                  <c:v>1381.79</c:v>
                </c:pt>
                <c:pt idx="5">
                  <c:v>1362.01</c:v>
                </c:pt>
                <c:pt idx="6">
                  <c:v>1348.27</c:v>
                </c:pt>
                <c:pt idx="7">
                  <c:v>1324.02</c:v>
                </c:pt>
                <c:pt idx="8">
                  <c:v>1320.41</c:v>
                </c:pt>
                <c:pt idx="9">
                  <c:v>1331.07</c:v>
                </c:pt>
                <c:pt idx="10">
                  <c:v>1319.11</c:v>
                </c:pt>
                <c:pt idx="11">
                  <c:v>1357.24</c:v>
                </c:pt>
                <c:pt idx="12">
                  <c:v>1357.24</c:v>
                </c:pt>
                <c:pt idx="13">
                  <c:v>1350.45</c:v>
                </c:pt>
                <c:pt idx="14">
                  <c:v>1344.15</c:v>
                </c:pt>
                <c:pt idx="15">
                  <c:v>1347.66</c:v>
                </c:pt>
                <c:pt idx="16">
                  <c:v>1351.66</c:v>
                </c:pt>
                <c:pt idx="17">
                  <c:v>1344.13</c:v>
                </c:pt>
                <c:pt idx="18">
                  <c:v>1336.29</c:v>
                </c:pt>
                <c:pt idx="19">
                  <c:v>1317.97</c:v>
                </c:pt>
                <c:pt idx="20">
                  <c:v>1318.48</c:v>
                </c:pt>
                <c:pt idx="21">
                  <c:v>1335.42</c:v>
                </c:pt>
                <c:pt idx="22">
                  <c:v>1335.53</c:v>
                </c:pt>
                <c:pt idx="23">
                  <c:v>1307.58</c:v>
                </c:pt>
                <c:pt idx="24">
                  <c:v>1310.51</c:v>
                </c:pt>
                <c:pt idx="25">
                  <c:v>1280.4100000000001</c:v>
                </c:pt>
                <c:pt idx="26">
                  <c:v>1277.3599999999999</c:v>
                </c:pt>
                <c:pt idx="27">
                  <c:v>1283.31</c:v>
                </c:pt>
                <c:pt idx="28">
                  <c:v>1282.2</c:v>
                </c:pt>
                <c:pt idx="29">
                  <c:v>1268.3699999999999</c:v>
                </c:pt>
                <c:pt idx="30">
                  <c:v>1282.71</c:v>
                </c:pt>
                <c:pt idx="31">
                  <c:v>1282.81</c:v>
                </c:pt>
                <c:pt idx="32">
                  <c:v>1304.5999999999999</c:v>
                </c:pt>
                <c:pt idx="33">
                  <c:v>1301.3499999999999</c:v>
                </c:pt>
                <c:pt idx="34">
                  <c:v>1325.4</c:v>
                </c:pt>
                <c:pt idx="35">
                  <c:v>1317.64</c:v>
                </c:pt>
                <c:pt idx="36">
                  <c:v>1336.02</c:v>
                </c:pt>
                <c:pt idx="37">
                  <c:v>1335.21</c:v>
                </c:pt>
                <c:pt idx="38">
                  <c:v>1313.04</c:v>
                </c:pt>
                <c:pt idx="39">
                  <c:v>1285.55</c:v>
                </c:pt>
                <c:pt idx="40">
                  <c:v>1283.42</c:v>
                </c:pt>
                <c:pt idx="41">
                  <c:v>1247.4100000000001</c:v>
                </c:pt>
                <c:pt idx="42">
                  <c:v>1254.1300000000001</c:v>
                </c:pt>
                <c:pt idx="43">
                  <c:v>1261.32</c:v>
                </c:pt>
                <c:pt idx="44">
                  <c:v>1289.43</c:v>
                </c:pt>
                <c:pt idx="45">
                  <c:v>1283.6099999999999</c:v>
                </c:pt>
                <c:pt idx="46">
                  <c:v>1301.6500000000001</c:v>
                </c:pt>
                <c:pt idx="47">
                  <c:v>1293.6300000000001</c:v>
                </c:pt>
                <c:pt idx="48">
                  <c:v>1281.9100000000001</c:v>
                </c:pt>
                <c:pt idx="49">
                  <c:v>1296.71</c:v>
                </c:pt>
                <c:pt idx="50">
                  <c:v>1342.44</c:v>
                </c:pt>
                <c:pt idx="51">
                  <c:v>1362.93</c:v>
                </c:pt>
                <c:pt idx="52">
                  <c:v>1354.12</c:v>
                </c:pt>
                <c:pt idx="53">
                  <c:v>1347.74</c:v>
                </c:pt>
                <c:pt idx="54">
                  <c:v>1354.93</c:v>
                </c:pt>
                <c:pt idx="55">
                  <c:v>1362.64</c:v>
                </c:pt>
                <c:pt idx="56">
                  <c:v>1370.23</c:v>
                </c:pt>
                <c:pt idx="57">
                  <c:v>1377.01</c:v>
                </c:pt>
                <c:pt idx="58">
                  <c:v>1365.28</c:v>
                </c:pt>
                <c:pt idx="59">
                  <c:v>1373.46</c:v>
                </c:pt>
                <c:pt idx="60">
                  <c:v>1381.46</c:v>
                </c:pt>
                <c:pt idx="61">
                  <c:v>1396.06</c:v>
                </c:pt>
                <c:pt idx="62">
                  <c:v>1394.39</c:v>
                </c:pt>
                <c:pt idx="63">
                  <c:v>1420.07</c:v>
                </c:pt>
                <c:pt idx="64">
                  <c:v>1410.71</c:v>
                </c:pt>
                <c:pt idx="65">
                  <c:v>1424.94</c:v>
                </c:pt>
                <c:pt idx="66">
                  <c:v>1422</c:v>
                </c:pt>
                <c:pt idx="67">
                  <c:v>1420.94</c:v>
                </c:pt>
                <c:pt idx="68">
                  <c:v>1404.64</c:v>
                </c:pt>
                <c:pt idx="69">
                  <c:v>1417.08</c:v>
                </c:pt>
                <c:pt idx="70">
                  <c:v>1417.08</c:v>
                </c:pt>
                <c:pt idx="71">
                  <c:v>1416.62</c:v>
                </c:pt>
                <c:pt idx="72">
                  <c:v>1407.83</c:v>
                </c:pt>
                <c:pt idx="73">
                  <c:v>1388.91</c:v>
                </c:pt>
                <c:pt idx="74">
                  <c:v>1397.72</c:v>
                </c:pt>
                <c:pt idx="75">
                  <c:v>1409.04</c:v>
                </c:pt>
                <c:pt idx="76">
                  <c:v>1433.3</c:v>
                </c:pt>
                <c:pt idx="77">
                  <c:v>1423.33</c:v>
                </c:pt>
                <c:pt idx="78">
                  <c:v>1409.17</c:v>
                </c:pt>
                <c:pt idx="79">
                  <c:v>1403.88</c:v>
                </c:pt>
                <c:pt idx="80">
                  <c:v>1408.11</c:v>
                </c:pt>
                <c:pt idx="81">
                  <c:v>1417.04</c:v>
                </c:pt>
                <c:pt idx="82">
                  <c:v>1415.22</c:v>
                </c:pt>
                <c:pt idx="83">
                  <c:v>1403.17</c:v>
                </c:pt>
                <c:pt idx="84">
                  <c:v>1413.32</c:v>
                </c:pt>
                <c:pt idx="85">
                  <c:v>1418.78</c:v>
                </c:pt>
                <c:pt idx="86">
                  <c:v>1421.03</c:v>
                </c:pt>
                <c:pt idx="87">
                  <c:v>1418.09</c:v>
                </c:pt>
                <c:pt idx="88">
                  <c:v>1433.43</c:v>
                </c:pt>
                <c:pt idx="89">
                  <c:v>1436.13</c:v>
                </c:pt>
                <c:pt idx="90">
                  <c:v>1458.34</c:v>
                </c:pt>
                <c:pt idx="91">
                  <c:v>1458.34</c:v>
                </c:pt>
                <c:pt idx="92">
                  <c:v>1457.1</c:v>
                </c:pt>
                <c:pt idx="93">
                  <c:v>1457.66</c:v>
                </c:pt>
                <c:pt idx="94">
                  <c:v>1463.46</c:v>
                </c:pt>
                <c:pt idx="95">
                  <c:v>1464.47</c:v>
                </c:pt>
                <c:pt idx="96">
                  <c:v>1469.25</c:v>
                </c:pt>
                <c:pt idx="97">
                  <c:v>1455.22</c:v>
                </c:pt>
                <c:pt idx="98">
                  <c:v>1399.42</c:v>
                </c:pt>
                <c:pt idx="99">
                  <c:v>1402.11</c:v>
                </c:pt>
                <c:pt idx="100">
                  <c:v>1403.45</c:v>
                </c:pt>
                <c:pt idx="101">
                  <c:v>1441.47</c:v>
                </c:pt>
                <c:pt idx="102">
                  <c:v>1457.6</c:v>
                </c:pt>
                <c:pt idx="103">
                  <c:v>1438.56</c:v>
                </c:pt>
                <c:pt idx="104">
                  <c:v>1432.25</c:v>
                </c:pt>
                <c:pt idx="105">
                  <c:v>1449.68</c:v>
                </c:pt>
                <c:pt idx="106">
                  <c:v>1465.15</c:v>
                </c:pt>
                <c:pt idx="107">
                  <c:v>1465.15</c:v>
                </c:pt>
                <c:pt idx="108">
                  <c:v>1455.14</c:v>
                </c:pt>
                <c:pt idx="109">
                  <c:v>1455.9</c:v>
                </c:pt>
                <c:pt idx="110">
                  <c:v>1445.57</c:v>
                </c:pt>
                <c:pt idx="111">
                  <c:v>1441.36</c:v>
                </c:pt>
                <c:pt idx="112">
                  <c:v>1401.53</c:v>
                </c:pt>
                <c:pt idx="113">
                  <c:v>1410.03</c:v>
                </c:pt>
                <c:pt idx="114">
                  <c:v>1404.09</c:v>
                </c:pt>
                <c:pt idx="115">
                  <c:v>1398.56</c:v>
                </c:pt>
                <c:pt idx="116">
                  <c:v>1360.16</c:v>
                </c:pt>
                <c:pt idx="117">
                  <c:v>1394.46</c:v>
                </c:pt>
                <c:pt idx="118">
                  <c:v>1409.28</c:v>
                </c:pt>
                <c:pt idx="119">
                  <c:v>1409.12</c:v>
                </c:pt>
                <c:pt idx="120">
                  <c:v>1424.97</c:v>
                </c:pt>
                <c:pt idx="121">
                  <c:v>1424.37</c:v>
                </c:pt>
                <c:pt idx="122">
                  <c:v>1424.24</c:v>
                </c:pt>
                <c:pt idx="123">
                  <c:v>1441.72</c:v>
                </c:pt>
                <c:pt idx="124">
                  <c:v>1411.7</c:v>
                </c:pt>
                <c:pt idx="125">
                  <c:v>1416.83</c:v>
                </c:pt>
                <c:pt idx="126">
                  <c:v>1387.12</c:v>
                </c:pt>
                <c:pt idx="127">
                  <c:v>1389.94</c:v>
                </c:pt>
                <c:pt idx="128">
                  <c:v>1402.05</c:v>
                </c:pt>
                <c:pt idx="129">
                  <c:v>1387.67</c:v>
                </c:pt>
                <c:pt idx="130">
                  <c:v>1388.26</c:v>
                </c:pt>
                <c:pt idx="131">
                  <c:v>1346.09</c:v>
                </c:pt>
                <c:pt idx="132">
                  <c:v>1346.09</c:v>
                </c:pt>
                <c:pt idx="133">
                  <c:v>1352.17</c:v>
                </c:pt>
                <c:pt idx="134">
                  <c:v>1360.69</c:v>
                </c:pt>
                <c:pt idx="135">
                  <c:v>1353.43</c:v>
                </c:pt>
                <c:pt idx="136">
                  <c:v>1333.36</c:v>
                </c:pt>
                <c:pt idx="137">
                  <c:v>1348.05</c:v>
                </c:pt>
                <c:pt idx="138">
                  <c:v>1366.42</c:v>
                </c:pt>
                <c:pt idx="139">
                  <c:v>1379.19</c:v>
                </c:pt>
                <c:pt idx="140">
                  <c:v>1381.76</c:v>
                </c:pt>
                <c:pt idx="141">
                  <c:v>1409.17</c:v>
                </c:pt>
                <c:pt idx="142">
                  <c:v>1391.28</c:v>
                </c:pt>
                <c:pt idx="143">
                  <c:v>1355.62</c:v>
                </c:pt>
                <c:pt idx="144">
                  <c:v>1366.7</c:v>
                </c:pt>
                <c:pt idx="145">
                  <c:v>1401.69</c:v>
                </c:pt>
                <c:pt idx="146">
                  <c:v>1395.07</c:v>
                </c:pt>
                <c:pt idx="147">
                  <c:v>1383.62</c:v>
                </c:pt>
                <c:pt idx="148">
                  <c:v>1359.15</c:v>
                </c:pt>
                <c:pt idx="149">
                  <c:v>1392.15</c:v>
                </c:pt>
                <c:pt idx="150">
                  <c:v>1458.47</c:v>
                </c:pt>
                <c:pt idx="151">
                  <c:v>1464.47</c:v>
                </c:pt>
                <c:pt idx="152">
                  <c:v>1456.63</c:v>
                </c:pt>
                <c:pt idx="153">
                  <c:v>1493.87</c:v>
                </c:pt>
                <c:pt idx="154">
                  <c:v>1500.64</c:v>
                </c:pt>
                <c:pt idx="155">
                  <c:v>1527.35</c:v>
                </c:pt>
                <c:pt idx="156">
                  <c:v>1527.46</c:v>
                </c:pt>
                <c:pt idx="157">
                  <c:v>1523.86</c:v>
                </c:pt>
                <c:pt idx="158">
                  <c:v>1507.73</c:v>
                </c:pt>
                <c:pt idx="159">
                  <c:v>1508.52</c:v>
                </c:pt>
                <c:pt idx="160">
                  <c:v>1487.92</c:v>
                </c:pt>
                <c:pt idx="161">
                  <c:v>1498.58</c:v>
                </c:pt>
                <c:pt idx="162">
                  <c:v>1505.97</c:v>
                </c:pt>
                <c:pt idx="163">
                  <c:v>1494.73</c:v>
                </c:pt>
                <c:pt idx="164">
                  <c:v>1487.37</c:v>
                </c:pt>
                <c:pt idx="165">
                  <c:v>1501.34</c:v>
                </c:pt>
                <c:pt idx="166">
                  <c:v>1516.35</c:v>
                </c:pt>
                <c:pt idx="167">
                  <c:v>1504.46</c:v>
                </c:pt>
                <c:pt idx="168">
                  <c:v>1500.59</c:v>
                </c:pt>
                <c:pt idx="169">
                  <c:v>1467.17</c:v>
                </c:pt>
                <c:pt idx="170">
                  <c:v>1440.51</c:v>
                </c:pt>
                <c:pt idx="171">
                  <c:v>1356.56</c:v>
                </c:pt>
                <c:pt idx="172">
                  <c:v>1401.44</c:v>
                </c:pt>
                <c:pt idx="173">
                  <c:v>1441.61</c:v>
                </c:pt>
                <c:pt idx="174">
                  <c:v>1427.47</c:v>
                </c:pt>
                <c:pt idx="175">
                  <c:v>1434.54</c:v>
                </c:pt>
                <c:pt idx="176">
                  <c:v>1434.54</c:v>
                </c:pt>
                <c:pt idx="177">
                  <c:v>1429.86</c:v>
                </c:pt>
                <c:pt idx="178">
                  <c:v>1477.44</c:v>
                </c:pt>
                <c:pt idx="179">
                  <c:v>1460.99</c:v>
                </c:pt>
                <c:pt idx="180">
                  <c:v>1464.92</c:v>
                </c:pt>
                <c:pt idx="181">
                  <c:v>1452.43</c:v>
                </c:pt>
                <c:pt idx="182">
                  <c:v>1468.25</c:v>
                </c:pt>
                <c:pt idx="183">
                  <c:v>1446.29</c:v>
                </c:pt>
                <c:pt idx="184">
                  <c:v>1415.1</c:v>
                </c:pt>
                <c:pt idx="185">
                  <c:v>1409.57</c:v>
                </c:pt>
                <c:pt idx="186">
                  <c:v>1432.63</c:v>
                </c:pt>
                <c:pt idx="187">
                  <c:v>1424.17</c:v>
                </c:pt>
                <c:pt idx="188">
                  <c:v>1412.14</c:v>
                </c:pt>
                <c:pt idx="189">
                  <c:v>1383.05</c:v>
                </c:pt>
                <c:pt idx="190">
                  <c:v>1407.81</c:v>
                </c:pt>
                <c:pt idx="191">
                  <c:v>1420.96</c:v>
                </c:pt>
                <c:pt idx="192">
                  <c:v>1452.36</c:v>
                </c:pt>
                <c:pt idx="193">
                  <c:v>1466.04</c:v>
                </c:pt>
                <c:pt idx="194">
                  <c:v>1447.8</c:v>
                </c:pt>
                <c:pt idx="195">
                  <c:v>1437.21</c:v>
                </c:pt>
                <c:pt idx="196">
                  <c:v>1406.95</c:v>
                </c:pt>
                <c:pt idx="197">
                  <c:v>1400.72</c:v>
                </c:pt>
                <c:pt idx="198">
                  <c:v>1373.86</c:v>
                </c:pt>
                <c:pt idx="199">
                  <c:v>1399.05</c:v>
                </c:pt>
                <c:pt idx="200">
                  <c:v>1381.52</c:v>
                </c:pt>
                <c:pt idx="201">
                  <c:v>1378.02</c:v>
                </c:pt>
                <c:pt idx="202">
                  <c:v>1378.02</c:v>
                </c:pt>
                <c:pt idx="203">
                  <c:v>1422.45</c:v>
                </c:pt>
                <c:pt idx="204">
                  <c:v>1420.6</c:v>
                </c:pt>
                <c:pt idx="205">
                  <c:v>1448.81</c:v>
                </c:pt>
                <c:pt idx="206">
                  <c:v>1477.26</c:v>
                </c:pt>
                <c:pt idx="207">
                  <c:v>1467.63</c:v>
                </c:pt>
                <c:pt idx="208">
                  <c:v>1457.84</c:v>
                </c:pt>
                <c:pt idx="209">
                  <c:v>1471.36</c:v>
                </c:pt>
                <c:pt idx="210">
                  <c:v>1461.67</c:v>
                </c:pt>
                <c:pt idx="211">
                  <c:v>1456.95</c:v>
                </c:pt>
                <c:pt idx="212">
                  <c:v>1446</c:v>
                </c:pt>
                <c:pt idx="213">
                  <c:v>1469.44</c:v>
                </c:pt>
                <c:pt idx="214">
                  <c:v>1470.54</c:v>
                </c:pt>
                <c:pt idx="215">
                  <c:v>1478.73</c:v>
                </c:pt>
                <c:pt idx="216">
                  <c:v>1464.46</c:v>
                </c:pt>
                <c:pt idx="217">
                  <c:v>1486</c:v>
                </c:pt>
                <c:pt idx="218">
                  <c:v>1475.95</c:v>
                </c:pt>
                <c:pt idx="219">
                  <c:v>1479.13</c:v>
                </c:pt>
                <c:pt idx="220">
                  <c:v>1452.18</c:v>
                </c:pt>
                <c:pt idx="221">
                  <c:v>1441.48</c:v>
                </c:pt>
                <c:pt idx="222">
                  <c:v>1455.31</c:v>
                </c:pt>
                <c:pt idx="223">
                  <c:v>1450.55</c:v>
                </c:pt>
                <c:pt idx="224">
                  <c:v>1454.82</c:v>
                </c:pt>
                <c:pt idx="225">
                  <c:v>1442.39</c:v>
                </c:pt>
                <c:pt idx="226">
                  <c:v>1454.6</c:v>
                </c:pt>
                <c:pt idx="227">
                  <c:v>1469.54</c:v>
                </c:pt>
                <c:pt idx="228">
                  <c:v>1469.54</c:v>
                </c:pt>
                <c:pt idx="229">
                  <c:v>1446.23</c:v>
                </c:pt>
                <c:pt idx="230">
                  <c:v>1456.67</c:v>
                </c:pt>
                <c:pt idx="231">
                  <c:v>1478.9</c:v>
                </c:pt>
                <c:pt idx="232">
                  <c:v>1475.62</c:v>
                </c:pt>
                <c:pt idx="233">
                  <c:v>1480.88</c:v>
                </c:pt>
                <c:pt idx="234">
                  <c:v>1492.92</c:v>
                </c:pt>
                <c:pt idx="235">
                  <c:v>1495.84</c:v>
                </c:pt>
                <c:pt idx="236">
                  <c:v>1509.98</c:v>
                </c:pt>
                <c:pt idx="237">
                  <c:v>1510.49</c:v>
                </c:pt>
                <c:pt idx="238">
                  <c:v>1493.74</c:v>
                </c:pt>
                <c:pt idx="239">
                  <c:v>1481.96</c:v>
                </c:pt>
                <c:pt idx="240">
                  <c:v>1495.57</c:v>
                </c:pt>
                <c:pt idx="241">
                  <c:v>1480.19</c:v>
                </c:pt>
                <c:pt idx="242">
                  <c:v>1464.29</c:v>
                </c:pt>
                <c:pt idx="243">
                  <c:v>1474.47</c:v>
                </c:pt>
                <c:pt idx="244">
                  <c:v>1452.42</c:v>
                </c:pt>
                <c:pt idx="245">
                  <c:v>1449.62</c:v>
                </c:pt>
                <c:pt idx="246">
                  <c:v>1419.89</c:v>
                </c:pt>
                <c:pt idx="247">
                  <c:v>1430.83</c:v>
                </c:pt>
                <c:pt idx="248">
                  <c:v>1438.1</c:v>
                </c:pt>
                <c:pt idx="249">
                  <c:v>1438.7</c:v>
                </c:pt>
                <c:pt idx="250">
                  <c:v>1452.56</c:v>
                </c:pt>
                <c:pt idx="251">
                  <c:v>1462.93</c:v>
                </c:pt>
                <c:pt idx="252">
                  <c:v>1479.32</c:v>
                </c:pt>
                <c:pt idx="253">
                  <c:v>1482.8</c:v>
                </c:pt>
                <c:pt idx="254">
                  <c:v>1472.87</c:v>
                </c:pt>
                <c:pt idx="255">
                  <c:v>1460.25</c:v>
                </c:pt>
                <c:pt idx="256">
                  <c:v>1471.84</c:v>
                </c:pt>
                <c:pt idx="257">
                  <c:v>1491.56</c:v>
                </c:pt>
                <c:pt idx="258">
                  <c:v>1484.43</c:v>
                </c:pt>
                <c:pt idx="259">
                  <c:v>1479.85</c:v>
                </c:pt>
                <c:pt idx="260">
                  <c:v>1496.07</c:v>
                </c:pt>
                <c:pt idx="261">
                  <c:v>1491.72</c:v>
                </c:pt>
                <c:pt idx="262">
                  <c:v>1499.48</c:v>
                </c:pt>
                <c:pt idx="263">
                  <c:v>1498.13</c:v>
                </c:pt>
                <c:pt idx="264">
                  <c:v>1505.97</c:v>
                </c:pt>
                <c:pt idx="265">
                  <c:v>1508.31</c:v>
                </c:pt>
                <c:pt idx="266">
                  <c:v>1506.45</c:v>
                </c:pt>
                <c:pt idx="267">
                  <c:v>1514.09</c:v>
                </c:pt>
                <c:pt idx="268">
                  <c:v>1509.84</c:v>
                </c:pt>
                <c:pt idx="269">
                  <c:v>1502.59</c:v>
                </c:pt>
                <c:pt idx="270">
                  <c:v>1517.68</c:v>
                </c:pt>
                <c:pt idx="271">
                  <c:v>1520.77</c:v>
                </c:pt>
                <c:pt idx="272">
                  <c:v>1520.77</c:v>
                </c:pt>
                <c:pt idx="273">
                  <c:v>1507.08</c:v>
                </c:pt>
                <c:pt idx="274">
                  <c:v>1492.25</c:v>
                </c:pt>
                <c:pt idx="275">
                  <c:v>1502.51</c:v>
                </c:pt>
                <c:pt idx="276">
                  <c:v>1494.5</c:v>
                </c:pt>
                <c:pt idx="277">
                  <c:v>1489.26</c:v>
                </c:pt>
                <c:pt idx="278">
                  <c:v>1481.99</c:v>
                </c:pt>
                <c:pt idx="279">
                  <c:v>1484.91</c:v>
                </c:pt>
                <c:pt idx="280">
                  <c:v>1480.87</c:v>
                </c:pt>
                <c:pt idx="281">
                  <c:v>1465.81</c:v>
                </c:pt>
                <c:pt idx="282">
                  <c:v>1444.51</c:v>
                </c:pt>
                <c:pt idx="283">
                  <c:v>1459.9</c:v>
                </c:pt>
                <c:pt idx="284">
                  <c:v>1451.34</c:v>
                </c:pt>
                <c:pt idx="285">
                  <c:v>1449.05</c:v>
                </c:pt>
                <c:pt idx="286">
                  <c:v>1448.72</c:v>
                </c:pt>
                <c:pt idx="287">
                  <c:v>1439.03</c:v>
                </c:pt>
                <c:pt idx="288">
                  <c:v>1427.21</c:v>
                </c:pt>
                <c:pt idx="289">
                  <c:v>1426.57</c:v>
                </c:pt>
                <c:pt idx="290">
                  <c:v>1458.29</c:v>
                </c:pt>
                <c:pt idx="291">
                  <c:v>1436.51</c:v>
                </c:pt>
                <c:pt idx="292">
                  <c:v>1436.23</c:v>
                </c:pt>
                <c:pt idx="293">
                  <c:v>1426.46</c:v>
                </c:pt>
                <c:pt idx="294">
                  <c:v>1434.32</c:v>
                </c:pt>
                <c:pt idx="295">
                  <c:v>1436.28</c:v>
                </c:pt>
                <c:pt idx="296">
                  <c:v>1408.99</c:v>
                </c:pt>
                <c:pt idx="297">
                  <c:v>1402.03</c:v>
                </c:pt>
                <c:pt idx="298">
                  <c:v>1387.02</c:v>
                </c:pt>
                <c:pt idx="299">
                  <c:v>1364.59</c:v>
                </c:pt>
                <c:pt idx="300">
                  <c:v>1329.78</c:v>
                </c:pt>
                <c:pt idx="301">
                  <c:v>1374.17</c:v>
                </c:pt>
                <c:pt idx="302">
                  <c:v>1374.62</c:v>
                </c:pt>
                <c:pt idx="303">
                  <c:v>1349.97</c:v>
                </c:pt>
                <c:pt idx="304">
                  <c:v>1342.13</c:v>
                </c:pt>
                <c:pt idx="305">
                  <c:v>1388.76</c:v>
                </c:pt>
                <c:pt idx="306">
                  <c:v>1396.93</c:v>
                </c:pt>
                <c:pt idx="307">
                  <c:v>1395.78</c:v>
                </c:pt>
                <c:pt idx="308">
                  <c:v>1398.13</c:v>
                </c:pt>
                <c:pt idx="309">
                  <c:v>1364.9</c:v>
                </c:pt>
                <c:pt idx="310">
                  <c:v>1364.44</c:v>
                </c:pt>
                <c:pt idx="311">
                  <c:v>1379.58</c:v>
                </c:pt>
                <c:pt idx="312">
                  <c:v>1398.66</c:v>
                </c:pt>
                <c:pt idx="313">
                  <c:v>1429.4</c:v>
                </c:pt>
                <c:pt idx="314">
                  <c:v>1421.22</c:v>
                </c:pt>
                <c:pt idx="315">
                  <c:v>1428.32</c:v>
                </c:pt>
                <c:pt idx="316">
                  <c:v>1426.69</c:v>
                </c:pt>
                <c:pt idx="317">
                  <c:v>1432.19</c:v>
                </c:pt>
                <c:pt idx="318">
                  <c:v>1431.87</c:v>
                </c:pt>
                <c:pt idx="319">
                  <c:v>1409.28</c:v>
                </c:pt>
                <c:pt idx="320">
                  <c:v>1400.14</c:v>
                </c:pt>
                <c:pt idx="321">
                  <c:v>1365.98</c:v>
                </c:pt>
                <c:pt idx="322">
                  <c:v>1351.26</c:v>
                </c:pt>
                <c:pt idx="323">
                  <c:v>1382.95</c:v>
                </c:pt>
                <c:pt idx="324">
                  <c:v>1389.81</c:v>
                </c:pt>
                <c:pt idx="325">
                  <c:v>1372.32</c:v>
                </c:pt>
                <c:pt idx="326">
                  <c:v>1367.72</c:v>
                </c:pt>
                <c:pt idx="327">
                  <c:v>1342.62</c:v>
                </c:pt>
                <c:pt idx="328">
                  <c:v>1347.35</c:v>
                </c:pt>
                <c:pt idx="329">
                  <c:v>1322.36</c:v>
                </c:pt>
                <c:pt idx="330">
                  <c:v>1322.36</c:v>
                </c:pt>
                <c:pt idx="331">
                  <c:v>1341.77</c:v>
                </c:pt>
                <c:pt idx="332">
                  <c:v>1348.97</c:v>
                </c:pt>
                <c:pt idx="333">
                  <c:v>1336.09</c:v>
                </c:pt>
                <c:pt idx="334">
                  <c:v>1341.91</c:v>
                </c:pt>
                <c:pt idx="335">
                  <c:v>1314.95</c:v>
                </c:pt>
                <c:pt idx="336">
                  <c:v>1315.23</c:v>
                </c:pt>
                <c:pt idx="337">
                  <c:v>1324.97</c:v>
                </c:pt>
                <c:pt idx="338">
                  <c:v>1376.54</c:v>
                </c:pt>
                <c:pt idx="339">
                  <c:v>1351.46</c:v>
                </c:pt>
                <c:pt idx="340">
                  <c:v>1343.55</c:v>
                </c:pt>
                <c:pt idx="341">
                  <c:v>1369.89</c:v>
                </c:pt>
                <c:pt idx="342">
                  <c:v>1380.2</c:v>
                </c:pt>
                <c:pt idx="343">
                  <c:v>1371.18</c:v>
                </c:pt>
                <c:pt idx="344">
                  <c:v>1359.99</c:v>
                </c:pt>
                <c:pt idx="345">
                  <c:v>1340.93</c:v>
                </c:pt>
                <c:pt idx="346">
                  <c:v>1312.15</c:v>
                </c:pt>
                <c:pt idx="347">
                  <c:v>1322.74</c:v>
                </c:pt>
                <c:pt idx="348">
                  <c:v>1305.5999999999999</c:v>
                </c:pt>
                <c:pt idx="349">
                  <c:v>1264.74</c:v>
                </c:pt>
                <c:pt idx="350">
                  <c:v>1274.8599999999999</c:v>
                </c:pt>
                <c:pt idx="351">
                  <c:v>1305.97</c:v>
                </c:pt>
                <c:pt idx="352">
                  <c:v>1305.97</c:v>
                </c:pt>
                <c:pt idx="353">
                  <c:v>1315.19</c:v>
                </c:pt>
                <c:pt idx="354">
                  <c:v>1328.92</c:v>
                </c:pt>
                <c:pt idx="355">
                  <c:v>1334.22</c:v>
                </c:pt>
                <c:pt idx="356">
                  <c:v>1320.28</c:v>
                </c:pt>
                <c:pt idx="357">
                  <c:v>1320.28</c:v>
                </c:pt>
                <c:pt idx="358">
                  <c:v>1283.27</c:v>
                </c:pt>
                <c:pt idx="359">
                  <c:v>1347.56</c:v>
                </c:pt>
                <c:pt idx="360">
                  <c:v>1333.34</c:v>
                </c:pt>
                <c:pt idx="361">
                  <c:v>1298.3499999999999</c:v>
                </c:pt>
                <c:pt idx="362">
                  <c:v>1295.8599999999999</c:v>
                </c:pt>
                <c:pt idx="363">
                  <c:v>1300.8</c:v>
                </c:pt>
                <c:pt idx="364">
                  <c:v>1313.27</c:v>
                </c:pt>
                <c:pt idx="365">
                  <c:v>1326.82</c:v>
                </c:pt>
                <c:pt idx="366">
                  <c:v>1318.32</c:v>
                </c:pt>
                <c:pt idx="367">
                  <c:v>1318.32</c:v>
                </c:pt>
                <c:pt idx="368">
                  <c:v>1326.65</c:v>
                </c:pt>
                <c:pt idx="369">
                  <c:v>1329.47</c:v>
                </c:pt>
                <c:pt idx="370">
                  <c:v>1347.97</c:v>
                </c:pt>
                <c:pt idx="371">
                  <c:v>1342.54</c:v>
                </c:pt>
                <c:pt idx="372">
                  <c:v>1342.9</c:v>
                </c:pt>
                <c:pt idx="373">
                  <c:v>1360.4</c:v>
                </c:pt>
                <c:pt idx="374">
                  <c:v>1364.3</c:v>
                </c:pt>
                <c:pt idx="375">
                  <c:v>1357.51</c:v>
                </c:pt>
                <c:pt idx="376">
                  <c:v>1354.95</c:v>
                </c:pt>
                <c:pt idx="377">
                  <c:v>1364.17</c:v>
                </c:pt>
                <c:pt idx="378">
                  <c:v>1373.73</c:v>
                </c:pt>
                <c:pt idx="379">
                  <c:v>1366.01</c:v>
                </c:pt>
                <c:pt idx="380">
                  <c:v>1373.47</c:v>
                </c:pt>
                <c:pt idx="381">
                  <c:v>1349.47</c:v>
                </c:pt>
                <c:pt idx="382">
                  <c:v>1354.31</c:v>
                </c:pt>
                <c:pt idx="383">
                  <c:v>1352.26</c:v>
                </c:pt>
                <c:pt idx="384">
                  <c:v>1340.89</c:v>
                </c:pt>
                <c:pt idx="385">
                  <c:v>1332.53</c:v>
                </c:pt>
                <c:pt idx="386">
                  <c:v>1314.76</c:v>
                </c:pt>
                <c:pt idx="387">
                  <c:v>1330.31</c:v>
                </c:pt>
                <c:pt idx="388">
                  <c:v>1318.8</c:v>
                </c:pt>
                <c:pt idx="389">
                  <c:v>1315.92</c:v>
                </c:pt>
                <c:pt idx="390">
                  <c:v>1326.61</c:v>
                </c:pt>
                <c:pt idx="391">
                  <c:v>1301.53</c:v>
                </c:pt>
                <c:pt idx="392">
                  <c:v>1301.53</c:v>
                </c:pt>
                <c:pt idx="393">
                  <c:v>1278.94</c:v>
                </c:pt>
                <c:pt idx="394">
                  <c:v>1255.27</c:v>
                </c:pt>
                <c:pt idx="395">
                  <c:v>1252.82</c:v>
                </c:pt>
                <c:pt idx="396">
                  <c:v>1245.8599999999999</c:v>
                </c:pt>
                <c:pt idx="397">
                  <c:v>1267.6500000000001</c:v>
                </c:pt>
                <c:pt idx="398">
                  <c:v>1257.94</c:v>
                </c:pt>
                <c:pt idx="399">
                  <c:v>1239.94</c:v>
                </c:pt>
                <c:pt idx="400">
                  <c:v>1241.23</c:v>
                </c:pt>
                <c:pt idx="401">
                  <c:v>1234.18</c:v>
                </c:pt>
                <c:pt idx="402">
                  <c:v>1241.4100000000001</c:v>
                </c:pt>
                <c:pt idx="403">
                  <c:v>1253.8</c:v>
                </c:pt>
                <c:pt idx="404">
                  <c:v>1261.8900000000001</c:v>
                </c:pt>
                <c:pt idx="405">
                  <c:v>1264.74</c:v>
                </c:pt>
                <c:pt idx="406">
                  <c:v>1233.42</c:v>
                </c:pt>
                <c:pt idx="407">
                  <c:v>1180.1600000000001</c:v>
                </c:pt>
                <c:pt idx="408">
                  <c:v>1197.6600000000001</c:v>
                </c:pt>
                <c:pt idx="409">
                  <c:v>1166.71</c:v>
                </c:pt>
                <c:pt idx="410">
                  <c:v>1173.56</c:v>
                </c:pt>
                <c:pt idx="411">
                  <c:v>1150.53</c:v>
                </c:pt>
                <c:pt idx="412">
                  <c:v>1170.81</c:v>
                </c:pt>
                <c:pt idx="413">
                  <c:v>1142.6199999999999</c:v>
                </c:pt>
                <c:pt idx="414">
                  <c:v>1122.1400000000001</c:v>
                </c:pt>
                <c:pt idx="415">
                  <c:v>1117.58</c:v>
                </c:pt>
                <c:pt idx="416">
                  <c:v>1139.83</c:v>
                </c:pt>
                <c:pt idx="417">
                  <c:v>1152.69</c:v>
                </c:pt>
                <c:pt idx="418">
                  <c:v>1182.17</c:v>
                </c:pt>
                <c:pt idx="419">
                  <c:v>1153.29</c:v>
                </c:pt>
                <c:pt idx="420">
                  <c:v>1147.95</c:v>
                </c:pt>
                <c:pt idx="421">
                  <c:v>1160.33</c:v>
                </c:pt>
                <c:pt idx="422">
                  <c:v>1145.8699999999999</c:v>
                </c:pt>
                <c:pt idx="423">
                  <c:v>1106.46</c:v>
                </c:pt>
                <c:pt idx="424">
                  <c:v>1103.25</c:v>
                </c:pt>
                <c:pt idx="425">
                  <c:v>1151.44</c:v>
                </c:pt>
                <c:pt idx="426">
                  <c:v>1128.43</c:v>
                </c:pt>
                <c:pt idx="427">
                  <c:v>1137.5899999999999</c:v>
                </c:pt>
                <c:pt idx="428">
                  <c:v>1168.3800000000001</c:v>
                </c:pt>
                <c:pt idx="429">
                  <c:v>1165.8900000000001</c:v>
                </c:pt>
                <c:pt idx="430">
                  <c:v>1183.5</c:v>
                </c:pt>
                <c:pt idx="431">
                  <c:v>1183.5</c:v>
                </c:pt>
                <c:pt idx="432">
                  <c:v>1179.68</c:v>
                </c:pt>
                <c:pt idx="433">
                  <c:v>1191.81</c:v>
                </c:pt>
                <c:pt idx="434">
                  <c:v>1238.1600000000001</c:v>
                </c:pt>
                <c:pt idx="435">
                  <c:v>1253.7</c:v>
                </c:pt>
                <c:pt idx="436">
                  <c:v>1242.98</c:v>
                </c:pt>
                <c:pt idx="437">
                  <c:v>1224.3599999999999</c:v>
                </c:pt>
                <c:pt idx="438">
                  <c:v>1209.47</c:v>
                </c:pt>
                <c:pt idx="439">
                  <c:v>1228.75</c:v>
                </c:pt>
                <c:pt idx="440">
                  <c:v>1234.52</c:v>
                </c:pt>
                <c:pt idx="441">
                  <c:v>1253.05</c:v>
                </c:pt>
                <c:pt idx="442">
                  <c:v>1249.46</c:v>
                </c:pt>
                <c:pt idx="443">
                  <c:v>1266.44</c:v>
                </c:pt>
                <c:pt idx="444">
                  <c:v>1267.43</c:v>
                </c:pt>
                <c:pt idx="445">
                  <c:v>1248.58</c:v>
                </c:pt>
                <c:pt idx="446">
                  <c:v>1266.6099999999999</c:v>
                </c:pt>
                <c:pt idx="447">
                  <c:v>1263.51</c:v>
                </c:pt>
                <c:pt idx="448">
                  <c:v>1261.2</c:v>
                </c:pt>
                <c:pt idx="449">
                  <c:v>1255.54</c:v>
                </c:pt>
                <c:pt idx="450">
                  <c:v>1255.18</c:v>
                </c:pt>
                <c:pt idx="451">
                  <c:v>1245.67</c:v>
                </c:pt>
                <c:pt idx="452">
                  <c:v>1248.92</c:v>
                </c:pt>
                <c:pt idx="453">
                  <c:v>1249.44</c:v>
                </c:pt>
                <c:pt idx="454">
                  <c:v>1284.99</c:v>
                </c:pt>
                <c:pt idx="455">
                  <c:v>1288.49</c:v>
                </c:pt>
                <c:pt idx="456">
                  <c:v>1291.96</c:v>
                </c:pt>
                <c:pt idx="457">
                  <c:v>1312.83</c:v>
                </c:pt>
                <c:pt idx="458">
                  <c:v>1309.3800000000001</c:v>
                </c:pt>
                <c:pt idx="459">
                  <c:v>1289.05</c:v>
                </c:pt>
                <c:pt idx="460">
                  <c:v>1293.17</c:v>
                </c:pt>
                <c:pt idx="461">
                  <c:v>1277.8900000000001</c:v>
                </c:pt>
                <c:pt idx="462">
                  <c:v>1277.8900000000001</c:v>
                </c:pt>
                <c:pt idx="463">
                  <c:v>1267.93</c:v>
                </c:pt>
                <c:pt idx="464">
                  <c:v>1248.08</c:v>
                </c:pt>
                <c:pt idx="465">
                  <c:v>1255.82</c:v>
                </c:pt>
                <c:pt idx="466">
                  <c:v>1260.67</c:v>
                </c:pt>
                <c:pt idx="467">
                  <c:v>1267.1099999999999</c:v>
                </c:pt>
                <c:pt idx="468">
                  <c:v>1283.57</c:v>
                </c:pt>
                <c:pt idx="469">
                  <c:v>1270.03</c:v>
                </c:pt>
                <c:pt idx="470">
                  <c:v>1276.96</c:v>
                </c:pt>
                <c:pt idx="471">
                  <c:v>1264.96</c:v>
                </c:pt>
                <c:pt idx="472">
                  <c:v>1254.3900000000001</c:v>
                </c:pt>
                <c:pt idx="473">
                  <c:v>1255.8499999999999</c:v>
                </c:pt>
                <c:pt idx="474">
                  <c:v>1241.5999999999999</c:v>
                </c:pt>
                <c:pt idx="475">
                  <c:v>1219.8699999999999</c:v>
                </c:pt>
                <c:pt idx="476">
                  <c:v>1214.3599999999999</c:v>
                </c:pt>
                <c:pt idx="477">
                  <c:v>1208.43</c:v>
                </c:pt>
                <c:pt idx="478">
                  <c:v>1212.58</c:v>
                </c:pt>
                <c:pt idx="479">
                  <c:v>1223.1400000000001</c:v>
                </c:pt>
                <c:pt idx="480">
                  <c:v>1237.04</c:v>
                </c:pt>
                <c:pt idx="481">
                  <c:v>1225.3499999999999</c:v>
                </c:pt>
                <c:pt idx="482">
                  <c:v>1218.5999999999999</c:v>
                </c:pt>
                <c:pt idx="483">
                  <c:v>1216.76</c:v>
                </c:pt>
                <c:pt idx="484">
                  <c:v>1211.07</c:v>
                </c:pt>
                <c:pt idx="485">
                  <c:v>1226.2</c:v>
                </c:pt>
                <c:pt idx="486">
                  <c:v>1224.42</c:v>
                </c:pt>
                <c:pt idx="487">
                  <c:v>1236.71</c:v>
                </c:pt>
                <c:pt idx="488">
                  <c:v>1234.45</c:v>
                </c:pt>
                <c:pt idx="489">
                  <c:v>1234.45</c:v>
                </c:pt>
                <c:pt idx="490">
                  <c:v>1219.24</c:v>
                </c:pt>
                <c:pt idx="491">
                  <c:v>1190.5899999999999</c:v>
                </c:pt>
                <c:pt idx="492">
                  <c:v>1198.78</c:v>
                </c:pt>
                <c:pt idx="493">
                  <c:v>1181.52</c:v>
                </c:pt>
                <c:pt idx="494">
                  <c:v>1180.18</c:v>
                </c:pt>
                <c:pt idx="495">
                  <c:v>1208.1400000000001</c:v>
                </c:pt>
                <c:pt idx="496">
                  <c:v>1215.68</c:v>
                </c:pt>
                <c:pt idx="497">
                  <c:v>1202.45</c:v>
                </c:pt>
                <c:pt idx="498">
                  <c:v>1214.44</c:v>
                </c:pt>
                <c:pt idx="499">
                  <c:v>1207.71</c:v>
                </c:pt>
                <c:pt idx="500">
                  <c:v>1215.02</c:v>
                </c:pt>
                <c:pt idx="501">
                  <c:v>1210.8499999999999</c:v>
                </c:pt>
                <c:pt idx="502">
                  <c:v>1191.03</c:v>
                </c:pt>
                <c:pt idx="503">
                  <c:v>1171.6500000000001</c:v>
                </c:pt>
                <c:pt idx="504">
                  <c:v>1190.49</c:v>
                </c:pt>
                <c:pt idx="505">
                  <c:v>1202.93</c:v>
                </c:pt>
                <c:pt idx="506">
                  <c:v>1205.82</c:v>
                </c:pt>
                <c:pt idx="507">
                  <c:v>1204.52</c:v>
                </c:pt>
                <c:pt idx="508">
                  <c:v>1211.23</c:v>
                </c:pt>
                <c:pt idx="509">
                  <c:v>1215.93</c:v>
                </c:pt>
                <c:pt idx="510">
                  <c:v>1220.75</c:v>
                </c:pt>
                <c:pt idx="511">
                  <c:v>1214.3499999999999</c:v>
                </c:pt>
                <c:pt idx="512">
                  <c:v>1200.48</c:v>
                </c:pt>
                <c:pt idx="513">
                  <c:v>1204.4000000000001</c:v>
                </c:pt>
                <c:pt idx="514">
                  <c:v>1183.53</c:v>
                </c:pt>
                <c:pt idx="515">
                  <c:v>1183.43</c:v>
                </c:pt>
                <c:pt idx="516">
                  <c:v>1190.1600000000001</c:v>
                </c:pt>
                <c:pt idx="517">
                  <c:v>1191.29</c:v>
                </c:pt>
                <c:pt idx="518">
                  <c:v>1186.73</c:v>
                </c:pt>
                <c:pt idx="519">
                  <c:v>1178.02</c:v>
                </c:pt>
                <c:pt idx="520">
                  <c:v>1181.6600000000001</c:v>
                </c:pt>
                <c:pt idx="521">
                  <c:v>1161.97</c:v>
                </c:pt>
                <c:pt idx="522">
                  <c:v>1171.4100000000001</c:v>
                </c:pt>
                <c:pt idx="523">
                  <c:v>1157.26</c:v>
                </c:pt>
                <c:pt idx="524">
                  <c:v>1165.31</c:v>
                </c:pt>
                <c:pt idx="525">
                  <c:v>1162.0899999999999</c:v>
                </c:pt>
                <c:pt idx="526">
                  <c:v>1184.93</c:v>
                </c:pt>
                <c:pt idx="527">
                  <c:v>1179.21</c:v>
                </c:pt>
                <c:pt idx="528">
                  <c:v>1161.51</c:v>
                </c:pt>
                <c:pt idx="529">
                  <c:v>1148.5999999999999</c:v>
                </c:pt>
                <c:pt idx="530">
                  <c:v>1129.03</c:v>
                </c:pt>
                <c:pt idx="531">
                  <c:v>1133.58</c:v>
                </c:pt>
                <c:pt idx="532">
                  <c:v>1133.58</c:v>
                </c:pt>
                <c:pt idx="533">
                  <c:v>1132.94</c:v>
                </c:pt>
                <c:pt idx="534">
                  <c:v>1131.74</c:v>
                </c:pt>
                <c:pt idx="535">
                  <c:v>1106.4000000000001</c:v>
                </c:pt>
                <c:pt idx="536">
                  <c:v>1085.78</c:v>
                </c:pt>
                <c:pt idx="537">
                  <c:v>1092.54</c:v>
                </c:pt>
                <c:pt idx="538">
                  <c:v>1092.54</c:v>
                </c:pt>
                <c:pt idx="539">
                  <c:v>1092.54</c:v>
                </c:pt>
                <c:pt idx="540">
                  <c:v>1092.54</c:v>
                </c:pt>
                <c:pt idx="541">
                  <c:v>1092.54</c:v>
                </c:pt>
                <c:pt idx="542">
                  <c:v>1038.77</c:v>
                </c:pt>
                <c:pt idx="543">
                  <c:v>1032.74</c:v>
                </c:pt>
                <c:pt idx="544">
                  <c:v>1016.1</c:v>
                </c:pt>
                <c:pt idx="545">
                  <c:v>984.54</c:v>
                </c:pt>
                <c:pt idx="546">
                  <c:v>965.8</c:v>
                </c:pt>
                <c:pt idx="547">
                  <c:v>1003.45</c:v>
                </c:pt>
                <c:pt idx="548">
                  <c:v>1012.27</c:v>
                </c:pt>
                <c:pt idx="549">
                  <c:v>1007.04</c:v>
                </c:pt>
                <c:pt idx="550">
                  <c:v>1018.61</c:v>
                </c:pt>
                <c:pt idx="551">
                  <c:v>1040.94</c:v>
                </c:pt>
                <c:pt idx="552">
                  <c:v>1038.55</c:v>
                </c:pt>
                <c:pt idx="553">
                  <c:v>1051.33</c:v>
                </c:pt>
                <c:pt idx="554">
                  <c:v>1072.28</c:v>
                </c:pt>
                <c:pt idx="555">
                  <c:v>1069.6300000000001</c:v>
                </c:pt>
                <c:pt idx="556">
                  <c:v>1071.3800000000001</c:v>
                </c:pt>
                <c:pt idx="557">
                  <c:v>1062.44</c:v>
                </c:pt>
                <c:pt idx="558">
                  <c:v>1056.75</c:v>
                </c:pt>
                <c:pt idx="559">
                  <c:v>1080.99</c:v>
                </c:pt>
                <c:pt idx="560">
                  <c:v>1097.43</c:v>
                </c:pt>
                <c:pt idx="561">
                  <c:v>1091.6500000000001</c:v>
                </c:pt>
                <c:pt idx="562">
                  <c:v>1089.98</c:v>
                </c:pt>
                <c:pt idx="563">
                  <c:v>1097.54</c:v>
                </c:pt>
                <c:pt idx="564">
                  <c:v>1077.0899999999999</c:v>
                </c:pt>
                <c:pt idx="565">
                  <c:v>1068.6099999999999</c:v>
                </c:pt>
                <c:pt idx="566">
                  <c:v>1073.48</c:v>
                </c:pt>
                <c:pt idx="567">
                  <c:v>1089.9000000000001</c:v>
                </c:pt>
                <c:pt idx="568">
                  <c:v>1084.78</c:v>
                </c:pt>
                <c:pt idx="569">
                  <c:v>1085.2</c:v>
                </c:pt>
                <c:pt idx="570">
                  <c:v>1100.0899999999999</c:v>
                </c:pt>
                <c:pt idx="571">
                  <c:v>1104.6099999999999</c:v>
                </c:pt>
                <c:pt idx="572">
                  <c:v>1078.3</c:v>
                </c:pt>
                <c:pt idx="573">
                  <c:v>1059.79</c:v>
                </c:pt>
                <c:pt idx="574">
                  <c:v>1059.78</c:v>
                </c:pt>
                <c:pt idx="575">
                  <c:v>1084.0999999999999</c:v>
                </c:pt>
                <c:pt idx="576">
                  <c:v>1087.2</c:v>
                </c:pt>
                <c:pt idx="577">
                  <c:v>1102.8399999999999</c:v>
                </c:pt>
                <c:pt idx="578">
                  <c:v>1118.8599999999999</c:v>
                </c:pt>
                <c:pt idx="579">
                  <c:v>1115.8</c:v>
                </c:pt>
                <c:pt idx="580">
                  <c:v>1118.54</c:v>
                </c:pt>
                <c:pt idx="581">
                  <c:v>1120.31</c:v>
                </c:pt>
                <c:pt idx="582">
                  <c:v>1118.33</c:v>
                </c:pt>
                <c:pt idx="583">
                  <c:v>1139.0899999999999</c:v>
                </c:pt>
                <c:pt idx="584">
                  <c:v>1141.21</c:v>
                </c:pt>
                <c:pt idx="585">
                  <c:v>1142.24</c:v>
                </c:pt>
                <c:pt idx="586">
                  <c:v>1138.6500000000001</c:v>
                </c:pt>
                <c:pt idx="587">
                  <c:v>1151.06</c:v>
                </c:pt>
                <c:pt idx="588">
                  <c:v>1142.6600000000001</c:v>
                </c:pt>
                <c:pt idx="589">
                  <c:v>1137.03</c:v>
                </c:pt>
                <c:pt idx="590">
                  <c:v>1137.03</c:v>
                </c:pt>
                <c:pt idx="591">
                  <c:v>1150.3399999999999</c:v>
                </c:pt>
                <c:pt idx="592">
                  <c:v>1157.42</c:v>
                </c:pt>
                <c:pt idx="593">
                  <c:v>1149.5</c:v>
                </c:pt>
                <c:pt idx="594">
                  <c:v>1128.52</c:v>
                </c:pt>
                <c:pt idx="595">
                  <c:v>1140.2</c:v>
                </c:pt>
                <c:pt idx="596">
                  <c:v>1139.45</c:v>
                </c:pt>
                <c:pt idx="597">
                  <c:v>1129.9000000000001</c:v>
                </c:pt>
                <c:pt idx="598">
                  <c:v>1144.8</c:v>
                </c:pt>
                <c:pt idx="599">
                  <c:v>1170.3499999999999</c:v>
                </c:pt>
                <c:pt idx="600">
                  <c:v>1167.0999999999999</c:v>
                </c:pt>
                <c:pt idx="601">
                  <c:v>1158.31</c:v>
                </c:pt>
                <c:pt idx="602">
                  <c:v>1139.93</c:v>
                </c:pt>
                <c:pt idx="603">
                  <c:v>1136.76</c:v>
                </c:pt>
                <c:pt idx="604">
                  <c:v>1137.07</c:v>
                </c:pt>
                <c:pt idx="605">
                  <c:v>1119.3800000000001</c:v>
                </c:pt>
                <c:pt idx="606">
                  <c:v>1123.0899999999999</c:v>
                </c:pt>
                <c:pt idx="607">
                  <c:v>1134.3599999999999</c:v>
                </c:pt>
                <c:pt idx="608">
                  <c:v>1142.92</c:v>
                </c:pt>
                <c:pt idx="609">
                  <c:v>1149.56</c:v>
                </c:pt>
                <c:pt idx="610">
                  <c:v>1139.93</c:v>
                </c:pt>
                <c:pt idx="611">
                  <c:v>1144.8900000000001</c:v>
                </c:pt>
                <c:pt idx="612">
                  <c:v>1144.6500000000001</c:v>
                </c:pt>
                <c:pt idx="613">
                  <c:v>1144.6500000000001</c:v>
                </c:pt>
                <c:pt idx="614">
                  <c:v>1149.3699999999999</c:v>
                </c:pt>
                <c:pt idx="615">
                  <c:v>1157.1300000000001</c:v>
                </c:pt>
                <c:pt idx="616">
                  <c:v>1161.02</c:v>
                </c:pt>
                <c:pt idx="617">
                  <c:v>1148.08</c:v>
                </c:pt>
                <c:pt idx="618">
                  <c:v>1148.08</c:v>
                </c:pt>
                <c:pt idx="619">
                  <c:v>1154.67</c:v>
                </c:pt>
                <c:pt idx="620">
                  <c:v>1165.27</c:v>
                </c:pt>
                <c:pt idx="621">
                  <c:v>1172.51</c:v>
                </c:pt>
                <c:pt idx="622">
                  <c:v>1164.8900000000001</c:v>
                </c:pt>
                <c:pt idx="623">
                  <c:v>1160.71</c:v>
                </c:pt>
                <c:pt idx="624">
                  <c:v>1155.1400000000001</c:v>
                </c:pt>
                <c:pt idx="625">
                  <c:v>1156.55</c:v>
                </c:pt>
                <c:pt idx="626">
                  <c:v>1145.5999999999999</c:v>
                </c:pt>
                <c:pt idx="627">
                  <c:v>1138.4100000000001</c:v>
                </c:pt>
                <c:pt idx="628">
                  <c:v>1146.19</c:v>
                </c:pt>
                <c:pt idx="629">
                  <c:v>1127.57</c:v>
                </c:pt>
                <c:pt idx="630">
                  <c:v>1138.8800000000001</c:v>
                </c:pt>
                <c:pt idx="631">
                  <c:v>1127.58</c:v>
                </c:pt>
                <c:pt idx="632">
                  <c:v>1127.58</c:v>
                </c:pt>
                <c:pt idx="633">
                  <c:v>1119.31</c:v>
                </c:pt>
                <c:pt idx="634">
                  <c:v>1128.18</c:v>
                </c:pt>
                <c:pt idx="635">
                  <c:v>1132.1500000000001</c:v>
                </c:pt>
                <c:pt idx="636">
                  <c:v>1133.28</c:v>
                </c:pt>
                <c:pt idx="637">
                  <c:v>1133.06</c:v>
                </c:pt>
                <c:pt idx="638">
                  <c:v>1100.6400000000001</c:v>
                </c:pt>
                <c:pt idx="639">
                  <c:v>1113.57</c:v>
                </c:pt>
                <c:pt idx="640">
                  <c:v>1130.2</c:v>
                </c:pt>
                <c:pt idx="641">
                  <c:v>1122.2</c:v>
                </c:pt>
                <c:pt idx="642">
                  <c:v>1094.44</c:v>
                </c:pt>
                <c:pt idx="643">
                  <c:v>1090.02</c:v>
                </c:pt>
                <c:pt idx="644">
                  <c:v>1083.51</c:v>
                </c:pt>
                <c:pt idx="645">
                  <c:v>1080.17</c:v>
                </c:pt>
                <c:pt idx="646">
                  <c:v>1096.22</c:v>
                </c:pt>
                <c:pt idx="647">
                  <c:v>1111.94</c:v>
                </c:pt>
                <c:pt idx="648">
                  <c:v>1107.5</c:v>
                </c:pt>
                <c:pt idx="649">
                  <c:v>1118.51</c:v>
                </c:pt>
                <c:pt idx="650">
                  <c:v>1116.48</c:v>
                </c:pt>
                <c:pt idx="651">
                  <c:v>1104.18</c:v>
                </c:pt>
                <c:pt idx="652">
                  <c:v>1104.18</c:v>
                </c:pt>
                <c:pt idx="653">
                  <c:v>1083.3399999999999</c:v>
                </c:pt>
                <c:pt idx="654">
                  <c:v>1097.98</c:v>
                </c:pt>
                <c:pt idx="655">
                  <c:v>1080.95</c:v>
                </c:pt>
                <c:pt idx="656">
                  <c:v>1089.8399999999999</c:v>
                </c:pt>
                <c:pt idx="657">
                  <c:v>1109.43</c:v>
                </c:pt>
                <c:pt idx="658">
                  <c:v>1109.3800000000001</c:v>
                </c:pt>
                <c:pt idx="659">
                  <c:v>1109.8900000000001</c:v>
                </c:pt>
                <c:pt idx="660">
                  <c:v>1106.73</c:v>
                </c:pt>
                <c:pt idx="661">
                  <c:v>1131.78</c:v>
                </c:pt>
                <c:pt idx="662">
                  <c:v>1153.8399999999999</c:v>
                </c:pt>
                <c:pt idx="663">
                  <c:v>1146.1400000000001</c:v>
                </c:pt>
                <c:pt idx="664">
                  <c:v>1162.77</c:v>
                </c:pt>
                <c:pt idx="665">
                  <c:v>1157.54</c:v>
                </c:pt>
                <c:pt idx="666">
                  <c:v>1164.31</c:v>
                </c:pt>
                <c:pt idx="667">
                  <c:v>1168.26</c:v>
                </c:pt>
                <c:pt idx="668">
                  <c:v>1165.58</c:v>
                </c:pt>
                <c:pt idx="669">
                  <c:v>1154.0899999999999</c:v>
                </c:pt>
                <c:pt idx="670">
                  <c:v>1153.04</c:v>
                </c:pt>
                <c:pt idx="671">
                  <c:v>1166.1600000000001</c:v>
                </c:pt>
                <c:pt idx="672">
                  <c:v>1165.55</c:v>
                </c:pt>
                <c:pt idx="673">
                  <c:v>1170.29</c:v>
                </c:pt>
                <c:pt idx="674">
                  <c:v>1151.8499999999999</c:v>
                </c:pt>
                <c:pt idx="675">
                  <c:v>1153.5899999999999</c:v>
                </c:pt>
                <c:pt idx="676">
                  <c:v>1148.7</c:v>
                </c:pt>
                <c:pt idx="677">
                  <c:v>1131.8699999999999</c:v>
                </c:pt>
                <c:pt idx="678">
                  <c:v>1138.49</c:v>
                </c:pt>
                <c:pt idx="679">
                  <c:v>1144.58</c:v>
                </c:pt>
                <c:pt idx="680">
                  <c:v>1147.3900000000001</c:v>
                </c:pt>
                <c:pt idx="681">
                  <c:v>1147.3900000000001</c:v>
                </c:pt>
                <c:pt idx="682">
                  <c:v>1146.54</c:v>
                </c:pt>
                <c:pt idx="683">
                  <c:v>1136.76</c:v>
                </c:pt>
                <c:pt idx="684">
                  <c:v>1125.4000000000001</c:v>
                </c:pt>
                <c:pt idx="685">
                  <c:v>1126.3399999999999</c:v>
                </c:pt>
                <c:pt idx="686">
                  <c:v>1122.73</c:v>
                </c:pt>
                <c:pt idx="687">
                  <c:v>1125.29</c:v>
                </c:pt>
                <c:pt idx="688">
                  <c:v>1117.8</c:v>
                </c:pt>
                <c:pt idx="689">
                  <c:v>1130.46</c:v>
                </c:pt>
                <c:pt idx="690">
                  <c:v>1103.69</c:v>
                </c:pt>
                <c:pt idx="691">
                  <c:v>1111.01</c:v>
                </c:pt>
                <c:pt idx="692">
                  <c:v>1102.55</c:v>
                </c:pt>
                <c:pt idx="693">
                  <c:v>1128.3699999999999</c:v>
                </c:pt>
                <c:pt idx="694">
                  <c:v>1126.07</c:v>
                </c:pt>
                <c:pt idx="695">
                  <c:v>1124.47</c:v>
                </c:pt>
                <c:pt idx="696">
                  <c:v>1125.17</c:v>
                </c:pt>
                <c:pt idx="697">
                  <c:v>1107.83</c:v>
                </c:pt>
                <c:pt idx="698">
                  <c:v>1100.96</c:v>
                </c:pt>
                <c:pt idx="699">
                  <c:v>1093.1400000000001</c:v>
                </c:pt>
                <c:pt idx="700">
                  <c:v>1091.48</c:v>
                </c:pt>
                <c:pt idx="701">
                  <c:v>1076.32</c:v>
                </c:pt>
                <c:pt idx="702">
                  <c:v>1065.45</c:v>
                </c:pt>
                <c:pt idx="703">
                  <c:v>1076.92</c:v>
                </c:pt>
                <c:pt idx="704">
                  <c:v>1086.46</c:v>
                </c:pt>
                <c:pt idx="705">
                  <c:v>1084.56</c:v>
                </c:pt>
                <c:pt idx="706">
                  <c:v>1073.43</c:v>
                </c:pt>
                <c:pt idx="707">
                  <c:v>1052.67</c:v>
                </c:pt>
                <c:pt idx="708">
                  <c:v>1049.49</c:v>
                </c:pt>
                <c:pt idx="709">
                  <c:v>1088.8399999999999</c:v>
                </c:pt>
                <c:pt idx="710">
                  <c:v>1073.01</c:v>
                </c:pt>
                <c:pt idx="711">
                  <c:v>1054.99</c:v>
                </c:pt>
                <c:pt idx="712">
                  <c:v>1074.56</c:v>
                </c:pt>
                <c:pt idx="713">
                  <c:v>1097.28</c:v>
                </c:pt>
                <c:pt idx="714">
                  <c:v>1091.07</c:v>
                </c:pt>
                <c:pt idx="715">
                  <c:v>1098.23</c:v>
                </c:pt>
                <c:pt idx="716">
                  <c:v>1106.5899999999999</c:v>
                </c:pt>
                <c:pt idx="717">
                  <c:v>1091.8800000000001</c:v>
                </c:pt>
                <c:pt idx="718">
                  <c:v>1079.8800000000001</c:v>
                </c:pt>
                <c:pt idx="719">
                  <c:v>1086.02</c:v>
                </c:pt>
                <c:pt idx="720">
                  <c:v>1097.08</c:v>
                </c:pt>
                <c:pt idx="721">
                  <c:v>1083.82</c:v>
                </c:pt>
                <c:pt idx="722">
                  <c:v>1083.82</c:v>
                </c:pt>
                <c:pt idx="723">
                  <c:v>1074.55</c:v>
                </c:pt>
                <c:pt idx="724">
                  <c:v>1067.6600000000001</c:v>
                </c:pt>
                <c:pt idx="725">
                  <c:v>1064.6600000000001</c:v>
                </c:pt>
                <c:pt idx="726">
                  <c:v>1067.1400000000001</c:v>
                </c:pt>
                <c:pt idx="727">
                  <c:v>1040.68</c:v>
                </c:pt>
                <c:pt idx="728">
                  <c:v>1040.69</c:v>
                </c:pt>
                <c:pt idx="729">
                  <c:v>1049.9000000000001</c:v>
                </c:pt>
                <c:pt idx="730">
                  <c:v>1029.1500000000001</c:v>
                </c:pt>
                <c:pt idx="731">
                  <c:v>1027.53</c:v>
                </c:pt>
                <c:pt idx="732">
                  <c:v>1030.74</c:v>
                </c:pt>
                <c:pt idx="733">
                  <c:v>1013.6</c:v>
                </c:pt>
                <c:pt idx="734">
                  <c:v>1020.26</c:v>
                </c:pt>
                <c:pt idx="735">
                  <c:v>1009.56</c:v>
                </c:pt>
                <c:pt idx="736">
                  <c:v>1007.27</c:v>
                </c:pt>
                <c:pt idx="737">
                  <c:v>1036.17</c:v>
                </c:pt>
                <c:pt idx="738">
                  <c:v>1037.1400000000001</c:v>
                </c:pt>
                <c:pt idx="739">
                  <c:v>1019.99</c:v>
                </c:pt>
                <c:pt idx="740">
                  <c:v>1006.29</c:v>
                </c:pt>
                <c:pt idx="741">
                  <c:v>989.14</c:v>
                </c:pt>
                <c:pt idx="742">
                  <c:v>992.72</c:v>
                </c:pt>
                <c:pt idx="743">
                  <c:v>976.14</c:v>
                </c:pt>
                <c:pt idx="744">
                  <c:v>973.52</c:v>
                </c:pt>
                <c:pt idx="745">
                  <c:v>990.64</c:v>
                </c:pt>
                <c:pt idx="746">
                  <c:v>989.81</c:v>
                </c:pt>
                <c:pt idx="747">
                  <c:v>968.65</c:v>
                </c:pt>
                <c:pt idx="748">
                  <c:v>948.09</c:v>
                </c:pt>
                <c:pt idx="749">
                  <c:v>953.99</c:v>
                </c:pt>
                <c:pt idx="750">
                  <c:v>953.99</c:v>
                </c:pt>
                <c:pt idx="751">
                  <c:v>989.03</c:v>
                </c:pt>
                <c:pt idx="752">
                  <c:v>976.98</c:v>
                </c:pt>
                <c:pt idx="753">
                  <c:v>952.83</c:v>
                </c:pt>
                <c:pt idx="754">
                  <c:v>920.47</c:v>
                </c:pt>
                <c:pt idx="755">
                  <c:v>927.37</c:v>
                </c:pt>
                <c:pt idx="756">
                  <c:v>921.39</c:v>
                </c:pt>
                <c:pt idx="757">
                  <c:v>917.93</c:v>
                </c:pt>
                <c:pt idx="758">
                  <c:v>901.05</c:v>
                </c:pt>
                <c:pt idx="759">
                  <c:v>906.04</c:v>
                </c:pt>
                <c:pt idx="760">
                  <c:v>881.56</c:v>
                </c:pt>
                <c:pt idx="761">
                  <c:v>847.76</c:v>
                </c:pt>
                <c:pt idx="762">
                  <c:v>819.85</c:v>
                </c:pt>
                <c:pt idx="763">
                  <c:v>797.7</c:v>
                </c:pt>
                <c:pt idx="764">
                  <c:v>843.42</c:v>
                </c:pt>
                <c:pt idx="765">
                  <c:v>838.68</c:v>
                </c:pt>
                <c:pt idx="766">
                  <c:v>852.84</c:v>
                </c:pt>
                <c:pt idx="767">
                  <c:v>898.96</c:v>
                </c:pt>
                <c:pt idx="768">
                  <c:v>902.78</c:v>
                </c:pt>
                <c:pt idx="769">
                  <c:v>911.62</c:v>
                </c:pt>
                <c:pt idx="770">
                  <c:v>884.66</c:v>
                </c:pt>
                <c:pt idx="771">
                  <c:v>864.24</c:v>
                </c:pt>
                <c:pt idx="772">
                  <c:v>834.6</c:v>
                </c:pt>
                <c:pt idx="773">
                  <c:v>859.57</c:v>
                </c:pt>
                <c:pt idx="774">
                  <c:v>876.77</c:v>
                </c:pt>
                <c:pt idx="775">
                  <c:v>905.46</c:v>
                </c:pt>
                <c:pt idx="776">
                  <c:v>908.64</c:v>
                </c:pt>
                <c:pt idx="777">
                  <c:v>903.8</c:v>
                </c:pt>
                <c:pt idx="778">
                  <c:v>884.21</c:v>
                </c:pt>
                <c:pt idx="779">
                  <c:v>919.62</c:v>
                </c:pt>
                <c:pt idx="780">
                  <c:v>930.25</c:v>
                </c:pt>
                <c:pt idx="781">
                  <c:v>928.77</c:v>
                </c:pt>
                <c:pt idx="782">
                  <c:v>950.72</c:v>
                </c:pt>
                <c:pt idx="783">
                  <c:v>937.43</c:v>
                </c:pt>
                <c:pt idx="784">
                  <c:v>949.36</c:v>
                </c:pt>
                <c:pt idx="785">
                  <c:v>962.7</c:v>
                </c:pt>
                <c:pt idx="786">
                  <c:v>940.86</c:v>
                </c:pt>
                <c:pt idx="787">
                  <c:v>947.95</c:v>
                </c:pt>
                <c:pt idx="788">
                  <c:v>934.82</c:v>
                </c:pt>
                <c:pt idx="789">
                  <c:v>917.87</c:v>
                </c:pt>
                <c:pt idx="790">
                  <c:v>917.8</c:v>
                </c:pt>
                <c:pt idx="791">
                  <c:v>916.07</c:v>
                </c:pt>
                <c:pt idx="792">
                  <c:v>916.07</c:v>
                </c:pt>
                <c:pt idx="793">
                  <c:v>878.02</c:v>
                </c:pt>
                <c:pt idx="794">
                  <c:v>893.4</c:v>
                </c:pt>
                <c:pt idx="795">
                  <c:v>879.15</c:v>
                </c:pt>
                <c:pt idx="796">
                  <c:v>893.92</c:v>
                </c:pt>
                <c:pt idx="797">
                  <c:v>902.96</c:v>
                </c:pt>
                <c:pt idx="798">
                  <c:v>909.58</c:v>
                </c:pt>
                <c:pt idx="799">
                  <c:v>909.45</c:v>
                </c:pt>
                <c:pt idx="800">
                  <c:v>886.91</c:v>
                </c:pt>
                <c:pt idx="801">
                  <c:v>889.81</c:v>
                </c:pt>
                <c:pt idx="802">
                  <c:v>891.1</c:v>
                </c:pt>
                <c:pt idx="803">
                  <c:v>873.52</c:v>
                </c:pt>
                <c:pt idx="804">
                  <c:v>869.46</c:v>
                </c:pt>
                <c:pt idx="805">
                  <c:v>843.32</c:v>
                </c:pt>
                <c:pt idx="806">
                  <c:v>845.39</c:v>
                </c:pt>
                <c:pt idx="807">
                  <c:v>833.7</c:v>
                </c:pt>
                <c:pt idx="808">
                  <c:v>819.29</c:v>
                </c:pt>
                <c:pt idx="809">
                  <c:v>839.66</c:v>
                </c:pt>
                <c:pt idx="810">
                  <c:v>854.95</c:v>
                </c:pt>
                <c:pt idx="811">
                  <c:v>827.37</c:v>
                </c:pt>
                <c:pt idx="812">
                  <c:v>815.28</c:v>
                </c:pt>
                <c:pt idx="813">
                  <c:v>847.91</c:v>
                </c:pt>
                <c:pt idx="814">
                  <c:v>827.91</c:v>
                </c:pt>
                <c:pt idx="815">
                  <c:v>818.95</c:v>
                </c:pt>
                <c:pt idx="816">
                  <c:v>800.58</c:v>
                </c:pt>
                <c:pt idx="817">
                  <c:v>785.28</c:v>
                </c:pt>
                <c:pt idx="818">
                  <c:v>798.55</c:v>
                </c:pt>
                <c:pt idx="819">
                  <c:v>776.76</c:v>
                </c:pt>
                <c:pt idx="820">
                  <c:v>803.92</c:v>
                </c:pt>
                <c:pt idx="821">
                  <c:v>835.32</c:v>
                </c:pt>
                <c:pt idx="822">
                  <c:v>841.44</c:v>
                </c:pt>
                <c:pt idx="823">
                  <c:v>881.27</c:v>
                </c:pt>
                <c:pt idx="824">
                  <c:v>860.02</c:v>
                </c:pt>
                <c:pt idx="825">
                  <c:v>879.2</c:v>
                </c:pt>
                <c:pt idx="826">
                  <c:v>884.39</c:v>
                </c:pt>
                <c:pt idx="827">
                  <c:v>899.72</c:v>
                </c:pt>
                <c:pt idx="828">
                  <c:v>890.16</c:v>
                </c:pt>
                <c:pt idx="829">
                  <c:v>896.14</c:v>
                </c:pt>
                <c:pt idx="830">
                  <c:v>882.5</c:v>
                </c:pt>
                <c:pt idx="831">
                  <c:v>897.65</c:v>
                </c:pt>
                <c:pt idx="832">
                  <c:v>890.23</c:v>
                </c:pt>
                <c:pt idx="833">
                  <c:v>882.15</c:v>
                </c:pt>
                <c:pt idx="834">
                  <c:v>890.71</c:v>
                </c:pt>
                <c:pt idx="835">
                  <c:v>885.76</c:v>
                </c:pt>
                <c:pt idx="836">
                  <c:v>900.96</c:v>
                </c:pt>
                <c:pt idx="837">
                  <c:v>908.35</c:v>
                </c:pt>
                <c:pt idx="838">
                  <c:v>915.39</c:v>
                </c:pt>
                <c:pt idx="839">
                  <c:v>923.76</c:v>
                </c:pt>
                <c:pt idx="840">
                  <c:v>902.65</c:v>
                </c:pt>
                <c:pt idx="841">
                  <c:v>894.74</c:v>
                </c:pt>
                <c:pt idx="842">
                  <c:v>876.19</c:v>
                </c:pt>
                <c:pt idx="843">
                  <c:v>882.95</c:v>
                </c:pt>
                <c:pt idx="844">
                  <c:v>882.52</c:v>
                </c:pt>
                <c:pt idx="845">
                  <c:v>904.27</c:v>
                </c:pt>
                <c:pt idx="846">
                  <c:v>909.83</c:v>
                </c:pt>
                <c:pt idx="847">
                  <c:v>900.36</c:v>
                </c:pt>
                <c:pt idx="848">
                  <c:v>896.74</c:v>
                </c:pt>
                <c:pt idx="849">
                  <c:v>914.15</c:v>
                </c:pt>
                <c:pt idx="850">
                  <c:v>933.76</c:v>
                </c:pt>
                <c:pt idx="851">
                  <c:v>930.55</c:v>
                </c:pt>
                <c:pt idx="852">
                  <c:v>932.88</c:v>
                </c:pt>
                <c:pt idx="853">
                  <c:v>913.31</c:v>
                </c:pt>
                <c:pt idx="854">
                  <c:v>938.87</c:v>
                </c:pt>
                <c:pt idx="855">
                  <c:v>938.87</c:v>
                </c:pt>
                <c:pt idx="856">
                  <c:v>936.31</c:v>
                </c:pt>
                <c:pt idx="857">
                  <c:v>934.53</c:v>
                </c:pt>
                <c:pt idx="858">
                  <c:v>920.75</c:v>
                </c:pt>
                <c:pt idx="859">
                  <c:v>917.57</c:v>
                </c:pt>
                <c:pt idx="860">
                  <c:v>906.55</c:v>
                </c:pt>
                <c:pt idx="861">
                  <c:v>912.23</c:v>
                </c:pt>
                <c:pt idx="862">
                  <c:v>892</c:v>
                </c:pt>
                <c:pt idx="863">
                  <c:v>904.45</c:v>
                </c:pt>
                <c:pt idx="864">
                  <c:v>904.96</c:v>
                </c:pt>
                <c:pt idx="865">
                  <c:v>901.59</c:v>
                </c:pt>
                <c:pt idx="866">
                  <c:v>889.48</c:v>
                </c:pt>
                <c:pt idx="867">
                  <c:v>910.4</c:v>
                </c:pt>
                <c:pt idx="868">
                  <c:v>902.99</c:v>
                </c:pt>
                <c:pt idx="869">
                  <c:v>891.12</c:v>
                </c:pt>
                <c:pt idx="870">
                  <c:v>884.25</c:v>
                </c:pt>
                <c:pt idx="871">
                  <c:v>895.75</c:v>
                </c:pt>
                <c:pt idx="872">
                  <c:v>897.38</c:v>
                </c:pt>
                <c:pt idx="873">
                  <c:v>892.47</c:v>
                </c:pt>
                <c:pt idx="874">
                  <c:v>892.47</c:v>
                </c:pt>
                <c:pt idx="875">
                  <c:v>889.66</c:v>
                </c:pt>
                <c:pt idx="876">
                  <c:v>875.4</c:v>
                </c:pt>
                <c:pt idx="877">
                  <c:v>879.39</c:v>
                </c:pt>
                <c:pt idx="878">
                  <c:v>879.82</c:v>
                </c:pt>
                <c:pt idx="879">
                  <c:v>879.82</c:v>
                </c:pt>
                <c:pt idx="880">
                  <c:v>909.03</c:v>
                </c:pt>
                <c:pt idx="881">
                  <c:v>908.59</c:v>
                </c:pt>
                <c:pt idx="882">
                  <c:v>929.01</c:v>
                </c:pt>
                <c:pt idx="883">
                  <c:v>922.93</c:v>
                </c:pt>
                <c:pt idx="884">
                  <c:v>909.93</c:v>
                </c:pt>
                <c:pt idx="885">
                  <c:v>927.58</c:v>
                </c:pt>
                <c:pt idx="886">
                  <c:v>927.57</c:v>
                </c:pt>
                <c:pt idx="887">
                  <c:v>926.26</c:v>
                </c:pt>
                <c:pt idx="888">
                  <c:v>931.66</c:v>
                </c:pt>
                <c:pt idx="889">
                  <c:v>918.22</c:v>
                </c:pt>
                <c:pt idx="890">
                  <c:v>914.6</c:v>
                </c:pt>
                <c:pt idx="891">
                  <c:v>901.78</c:v>
                </c:pt>
                <c:pt idx="892">
                  <c:v>901.78</c:v>
                </c:pt>
                <c:pt idx="893">
                  <c:v>887.62</c:v>
                </c:pt>
                <c:pt idx="894">
                  <c:v>878.36</c:v>
                </c:pt>
                <c:pt idx="895">
                  <c:v>887.34</c:v>
                </c:pt>
                <c:pt idx="896">
                  <c:v>861.4</c:v>
                </c:pt>
                <c:pt idx="897">
                  <c:v>847.48</c:v>
                </c:pt>
                <c:pt idx="898">
                  <c:v>858.54</c:v>
                </c:pt>
                <c:pt idx="899">
                  <c:v>864.36</c:v>
                </c:pt>
                <c:pt idx="900">
                  <c:v>844.61</c:v>
                </c:pt>
                <c:pt idx="901">
                  <c:v>855.7</c:v>
                </c:pt>
                <c:pt idx="902">
                  <c:v>860.32</c:v>
                </c:pt>
                <c:pt idx="903">
                  <c:v>848.2</c:v>
                </c:pt>
                <c:pt idx="904">
                  <c:v>843.59</c:v>
                </c:pt>
                <c:pt idx="905">
                  <c:v>838.15</c:v>
                </c:pt>
                <c:pt idx="906">
                  <c:v>829.69</c:v>
                </c:pt>
                <c:pt idx="907">
                  <c:v>835.97</c:v>
                </c:pt>
                <c:pt idx="908">
                  <c:v>829.2</c:v>
                </c:pt>
                <c:pt idx="909">
                  <c:v>818.68</c:v>
                </c:pt>
                <c:pt idx="910">
                  <c:v>817.37</c:v>
                </c:pt>
                <c:pt idx="911">
                  <c:v>834.89</c:v>
                </c:pt>
                <c:pt idx="912">
                  <c:v>834.89</c:v>
                </c:pt>
                <c:pt idx="913">
                  <c:v>851.17</c:v>
                </c:pt>
                <c:pt idx="914">
                  <c:v>845.13</c:v>
                </c:pt>
                <c:pt idx="915">
                  <c:v>837.1</c:v>
                </c:pt>
                <c:pt idx="916">
                  <c:v>848.17</c:v>
                </c:pt>
                <c:pt idx="917">
                  <c:v>832.58</c:v>
                </c:pt>
                <c:pt idx="918">
                  <c:v>838.57</c:v>
                </c:pt>
                <c:pt idx="919">
                  <c:v>827.55</c:v>
                </c:pt>
                <c:pt idx="920">
                  <c:v>837.28</c:v>
                </c:pt>
                <c:pt idx="921">
                  <c:v>841.15</c:v>
                </c:pt>
                <c:pt idx="922">
                  <c:v>834.81</c:v>
                </c:pt>
                <c:pt idx="923">
                  <c:v>821.99</c:v>
                </c:pt>
                <c:pt idx="924">
                  <c:v>829.85</c:v>
                </c:pt>
                <c:pt idx="925">
                  <c:v>822.1</c:v>
                </c:pt>
                <c:pt idx="926">
                  <c:v>828.89</c:v>
                </c:pt>
                <c:pt idx="927">
                  <c:v>807.48</c:v>
                </c:pt>
                <c:pt idx="928">
                  <c:v>800.73</c:v>
                </c:pt>
                <c:pt idx="929">
                  <c:v>804.19</c:v>
                </c:pt>
                <c:pt idx="930">
                  <c:v>831.9</c:v>
                </c:pt>
                <c:pt idx="931">
                  <c:v>833.27</c:v>
                </c:pt>
                <c:pt idx="932">
                  <c:v>862.79</c:v>
                </c:pt>
                <c:pt idx="933">
                  <c:v>866.45</c:v>
                </c:pt>
                <c:pt idx="934">
                  <c:v>874.02</c:v>
                </c:pt>
                <c:pt idx="935">
                  <c:v>875.67</c:v>
                </c:pt>
                <c:pt idx="936">
                  <c:v>895.79</c:v>
                </c:pt>
                <c:pt idx="937">
                  <c:v>864.23</c:v>
                </c:pt>
                <c:pt idx="938">
                  <c:v>874.74</c:v>
                </c:pt>
                <c:pt idx="939">
                  <c:v>869.95</c:v>
                </c:pt>
                <c:pt idx="940">
                  <c:v>868.52</c:v>
                </c:pt>
                <c:pt idx="941">
                  <c:v>863.5</c:v>
                </c:pt>
                <c:pt idx="942">
                  <c:v>848.18</c:v>
                </c:pt>
                <c:pt idx="943">
                  <c:v>858.48</c:v>
                </c:pt>
                <c:pt idx="944">
                  <c:v>880.9</c:v>
                </c:pt>
                <c:pt idx="945">
                  <c:v>876.45</c:v>
                </c:pt>
                <c:pt idx="946">
                  <c:v>878.85</c:v>
                </c:pt>
                <c:pt idx="947">
                  <c:v>879.93</c:v>
                </c:pt>
                <c:pt idx="948">
                  <c:v>878.29</c:v>
                </c:pt>
                <c:pt idx="949">
                  <c:v>865.99</c:v>
                </c:pt>
                <c:pt idx="950">
                  <c:v>871.58</c:v>
                </c:pt>
                <c:pt idx="951">
                  <c:v>868.3</c:v>
                </c:pt>
                <c:pt idx="952">
                  <c:v>885.23</c:v>
                </c:pt>
                <c:pt idx="953">
                  <c:v>890.81</c:v>
                </c:pt>
                <c:pt idx="954">
                  <c:v>879.91</c:v>
                </c:pt>
                <c:pt idx="955">
                  <c:v>893.58</c:v>
                </c:pt>
                <c:pt idx="956">
                  <c:v>893.58</c:v>
                </c:pt>
                <c:pt idx="957">
                  <c:v>892.01</c:v>
                </c:pt>
                <c:pt idx="958">
                  <c:v>911.37</c:v>
                </c:pt>
                <c:pt idx="959">
                  <c:v>919.02</c:v>
                </c:pt>
                <c:pt idx="960">
                  <c:v>911.43</c:v>
                </c:pt>
                <c:pt idx="961">
                  <c:v>898.81</c:v>
                </c:pt>
                <c:pt idx="962">
                  <c:v>914.84</c:v>
                </c:pt>
                <c:pt idx="963">
                  <c:v>917.84</c:v>
                </c:pt>
                <c:pt idx="964">
                  <c:v>916.92</c:v>
                </c:pt>
                <c:pt idx="965">
                  <c:v>916.3</c:v>
                </c:pt>
                <c:pt idx="966">
                  <c:v>930.08</c:v>
                </c:pt>
                <c:pt idx="967">
                  <c:v>926.55</c:v>
                </c:pt>
                <c:pt idx="968">
                  <c:v>934.39</c:v>
                </c:pt>
                <c:pt idx="969">
                  <c:v>929.62</c:v>
                </c:pt>
                <c:pt idx="970">
                  <c:v>920.27</c:v>
                </c:pt>
                <c:pt idx="971">
                  <c:v>933.41</c:v>
                </c:pt>
                <c:pt idx="972">
                  <c:v>945.11</c:v>
                </c:pt>
                <c:pt idx="973">
                  <c:v>942.3</c:v>
                </c:pt>
                <c:pt idx="974">
                  <c:v>939.28</c:v>
                </c:pt>
                <c:pt idx="975">
                  <c:v>946.66</c:v>
                </c:pt>
                <c:pt idx="976">
                  <c:v>944.3</c:v>
                </c:pt>
                <c:pt idx="977">
                  <c:v>920.77</c:v>
                </c:pt>
                <c:pt idx="978">
                  <c:v>919.73</c:v>
                </c:pt>
                <c:pt idx="979">
                  <c:v>923.42</c:v>
                </c:pt>
                <c:pt idx="980">
                  <c:v>931.87</c:v>
                </c:pt>
                <c:pt idx="981">
                  <c:v>933.22</c:v>
                </c:pt>
                <c:pt idx="982">
                  <c:v>933.22</c:v>
                </c:pt>
                <c:pt idx="983">
                  <c:v>951.48</c:v>
                </c:pt>
                <c:pt idx="984">
                  <c:v>953.22</c:v>
                </c:pt>
                <c:pt idx="985">
                  <c:v>949.64</c:v>
                </c:pt>
                <c:pt idx="986">
                  <c:v>963.59</c:v>
                </c:pt>
                <c:pt idx="987">
                  <c:v>967</c:v>
                </c:pt>
                <c:pt idx="988">
                  <c:v>971.56</c:v>
                </c:pt>
                <c:pt idx="989">
                  <c:v>986.24</c:v>
                </c:pt>
                <c:pt idx="990">
                  <c:v>990.14</c:v>
                </c:pt>
                <c:pt idx="991">
                  <c:v>987.76</c:v>
                </c:pt>
                <c:pt idx="992">
                  <c:v>975.93</c:v>
                </c:pt>
                <c:pt idx="993">
                  <c:v>984.84</c:v>
                </c:pt>
                <c:pt idx="994">
                  <c:v>997.48</c:v>
                </c:pt>
                <c:pt idx="995">
                  <c:v>998.51</c:v>
                </c:pt>
                <c:pt idx="996">
                  <c:v>988.61</c:v>
                </c:pt>
                <c:pt idx="997">
                  <c:v>1010.74</c:v>
                </c:pt>
                <c:pt idx="998">
                  <c:v>1011.66</c:v>
                </c:pt>
                <c:pt idx="999">
                  <c:v>1010.09</c:v>
                </c:pt>
                <c:pt idx="1000">
                  <c:v>994.7</c:v>
                </c:pt>
                <c:pt idx="1001">
                  <c:v>995.69</c:v>
                </c:pt>
                <c:pt idx="1002">
                  <c:v>981.64</c:v>
                </c:pt>
                <c:pt idx="1003">
                  <c:v>983.45</c:v>
                </c:pt>
                <c:pt idx="1004">
                  <c:v>975.32</c:v>
                </c:pt>
                <c:pt idx="1005">
                  <c:v>985.82</c:v>
                </c:pt>
                <c:pt idx="1006">
                  <c:v>976.22</c:v>
                </c:pt>
                <c:pt idx="1007">
                  <c:v>974.5</c:v>
                </c:pt>
                <c:pt idx="1008">
                  <c:v>982.32</c:v>
                </c:pt>
                <c:pt idx="1009">
                  <c:v>993.75</c:v>
                </c:pt>
                <c:pt idx="1010">
                  <c:v>985.7</c:v>
                </c:pt>
                <c:pt idx="1011">
                  <c:v>985.7</c:v>
                </c:pt>
                <c:pt idx="1012">
                  <c:v>1004.42</c:v>
                </c:pt>
                <c:pt idx="1013">
                  <c:v>1007.84</c:v>
                </c:pt>
                <c:pt idx="1014">
                  <c:v>1002.21</c:v>
                </c:pt>
                <c:pt idx="1015">
                  <c:v>988.7</c:v>
                </c:pt>
                <c:pt idx="1016">
                  <c:v>998.14</c:v>
                </c:pt>
                <c:pt idx="1017">
                  <c:v>1003.86</c:v>
                </c:pt>
                <c:pt idx="1018">
                  <c:v>1000.42</c:v>
                </c:pt>
                <c:pt idx="1019">
                  <c:v>994</c:v>
                </c:pt>
                <c:pt idx="1020">
                  <c:v>981.73</c:v>
                </c:pt>
                <c:pt idx="1021">
                  <c:v>993.32</c:v>
                </c:pt>
                <c:pt idx="1022">
                  <c:v>978.8</c:v>
                </c:pt>
                <c:pt idx="1023">
                  <c:v>988.11</c:v>
                </c:pt>
                <c:pt idx="1024">
                  <c:v>988.61</c:v>
                </c:pt>
                <c:pt idx="1025">
                  <c:v>981.6</c:v>
                </c:pt>
                <c:pt idx="1026">
                  <c:v>998.68</c:v>
                </c:pt>
                <c:pt idx="1027">
                  <c:v>996.52</c:v>
                </c:pt>
                <c:pt idx="1028">
                  <c:v>989.28</c:v>
                </c:pt>
                <c:pt idx="1029">
                  <c:v>987.49</c:v>
                </c:pt>
                <c:pt idx="1030">
                  <c:v>990.31</c:v>
                </c:pt>
                <c:pt idx="1031">
                  <c:v>980.15</c:v>
                </c:pt>
                <c:pt idx="1032">
                  <c:v>982.81</c:v>
                </c:pt>
                <c:pt idx="1033">
                  <c:v>965.46</c:v>
                </c:pt>
                <c:pt idx="1034">
                  <c:v>967.08</c:v>
                </c:pt>
                <c:pt idx="1035">
                  <c:v>974.12</c:v>
                </c:pt>
                <c:pt idx="1036">
                  <c:v>977.59</c:v>
                </c:pt>
                <c:pt idx="1037">
                  <c:v>980.59</c:v>
                </c:pt>
                <c:pt idx="1038">
                  <c:v>990.35</c:v>
                </c:pt>
                <c:pt idx="1039">
                  <c:v>984.03</c:v>
                </c:pt>
                <c:pt idx="1040">
                  <c:v>990.51</c:v>
                </c:pt>
                <c:pt idx="1041">
                  <c:v>990.67</c:v>
                </c:pt>
                <c:pt idx="1042">
                  <c:v>999.74</c:v>
                </c:pt>
                <c:pt idx="1043">
                  <c:v>1002.35</c:v>
                </c:pt>
                <c:pt idx="1044">
                  <c:v>1000.3</c:v>
                </c:pt>
                <c:pt idx="1045">
                  <c:v>1003.27</c:v>
                </c:pt>
                <c:pt idx="1046">
                  <c:v>993.06</c:v>
                </c:pt>
                <c:pt idx="1047">
                  <c:v>993.71</c:v>
                </c:pt>
                <c:pt idx="1048">
                  <c:v>996.73</c:v>
                </c:pt>
                <c:pt idx="1049">
                  <c:v>996.79</c:v>
                </c:pt>
                <c:pt idx="1050">
                  <c:v>1002.84</c:v>
                </c:pt>
                <c:pt idx="1051">
                  <c:v>1008.01</c:v>
                </c:pt>
                <c:pt idx="1052">
                  <c:v>1008.01</c:v>
                </c:pt>
                <c:pt idx="1053">
                  <c:v>1021.99</c:v>
                </c:pt>
                <c:pt idx="1054">
                  <c:v>1026.27</c:v>
                </c:pt>
                <c:pt idx="1055">
                  <c:v>1027.97</c:v>
                </c:pt>
                <c:pt idx="1056">
                  <c:v>1021.39</c:v>
                </c:pt>
                <c:pt idx="1057">
                  <c:v>1031.6400000000001</c:v>
                </c:pt>
                <c:pt idx="1058">
                  <c:v>1023.16</c:v>
                </c:pt>
                <c:pt idx="1059">
                  <c:v>1010.92</c:v>
                </c:pt>
                <c:pt idx="1060">
                  <c:v>1016.42</c:v>
                </c:pt>
                <c:pt idx="1061">
                  <c:v>1018.63</c:v>
                </c:pt>
                <c:pt idx="1062">
                  <c:v>1014.81</c:v>
                </c:pt>
                <c:pt idx="1063">
                  <c:v>1029.32</c:v>
                </c:pt>
                <c:pt idx="1064">
                  <c:v>1025.97</c:v>
                </c:pt>
                <c:pt idx="1065">
                  <c:v>1039.58</c:v>
                </c:pt>
                <c:pt idx="1066">
                  <c:v>1036.3</c:v>
                </c:pt>
                <c:pt idx="1067">
                  <c:v>1022.82</c:v>
                </c:pt>
                <c:pt idx="1068">
                  <c:v>1029.03</c:v>
                </c:pt>
                <c:pt idx="1069">
                  <c:v>1009.38</c:v>
                </c:pt>
                <c:pt idx="1070">
                  <c:v>1003.27</c:v>
                </c:pt>
                <c:pt idx="1071">
                  <c:v>996.85</c:v>
                </c:pt>
                <c:pt idx="1072">
                  <c:v>1006.58</c:v>
                </c:pt>
                <c:pt idx="1073">
                  <c:v>995.97</c:v>
                </c:pt>
                <c:pt idx="1074">
                  <c:v>1018.22</c:v>
                </c:pt>
                <c:pt idx="1075">
                  <c:v>1020.24</c:v>
                </c:pt>
                <c:pt idx="1076">
                  <c:v>1029.8499999999999</c:v>
                </c:pt>
                <c:pt idx="1077">
                  <c:v>1034.3499999999999</c:v>
                </c:pt>
                <c:pt idx="1078">
                  <c:v>1039.25</c:v>
                </c:pt>
                <c:pt idx="1079">
                  <c:v>1033.78</c:v>
                </c:pt>
                <c:pt idx="1080">
                  <c:v>1038.73</c:v>
                </c:pt>
                <c:pt idx="1081">
                  <c:v>1038.06</c:v>
                </c:pt>
                <c:pt idx="1082">
                  <c:v>1045.3499999999999</c:v>
                </c:pt>
                <c:pt idx="1083">
                  <c:v>1049.48</c:v>
                </c:pt>
                <c:pt idx="1084">
                  <c:v>1046.76</c:v>
                </c:pt>
                <c:pt idx="1085">
                  <c:v>1050.07</c:v>
                </c:pt>
                <c:pt idx="1086">
                  <c:v>1039.32</c:v>
                </c:pt>
                <c:pt idx="1087">
                  <c:v>1044.68</c:v>
                </c:pt>
                <c:pt idx="1088">
                  <c:v>1046.03</c:v>
                </c:pt>
                <c:pt idx="1089">
                  <c:v>1030.3599999999999</c:v>
                </c:pt>
                <c:pt idx="1090">
                  <c:v>1033.77</c:v>
                </c:pt>
                <c:pt idx="1091">
                  <c:v>1028.9100000000001</c:v>
                </c:pt>
                <c:pt idx="1092">
                  <c:v>1031.1300000000001</c:v>
                </c:pt>
                <c:pt idx="1093">
                  <c:v>1046.79</c:v>
                </c:pt>
                <c:pt idx="1094">
                  <c:v>1048.1099999999999</c:v>
                </c:pt>
                <c:pt idx="1095">
                  <c:v>1046.94</c:v>
                </c:pt>
                <c:pt idx="1096">
                  <c:v>1050.71</c:v>
                </c:pt>
                <c:pt idx="1097">
                  <c:v>1059.02</c:v>
                </c:pt>
                <c:pt idx="1098">
                  <c:v>1053.25</c:v>
                </c:pt>
                <c:pt idx="1099">
                  <c:v>1051.81</c:v>
                </c:pt>
                <c:pt idx="1100">
                  <c:v>1058.05</c:v>
                </c:pt>
                <c:pt idx="1101">
                  <c:v>1053.21</c:v>
                </c:pt>
                <c:pt idx="1102">
                  <c:v>1047.1099999999999</c:v>
                </c:pt>
                <c:pt idx="1103">
                  <c:v>1046.57</c:v>
                </c:pt>
                <c:pt idx="1104">
                  <c:v>1058.56</c:v>
                </c:pt>
                <c:pt idx="1105">
                  <c:v>1058.4100000000001</c:v>
                </c:pt>
                <c:pt idx="1106">
                  <c:v>1050.3499999999999</c:v>
                </c:pt>
                <c:pt idx="1107">
                  <c:v>1043.6300000000001</c:v>
                </c:pt>
                <c:pt idx="1108">
                  <c:v>1034.1500000000001</c:v>
                </c:pt>
                <c:pt idx="1109">
                  <c:v>1042.44</c:v>
                </c:pt>
                <c:pt idx="1110">
                  <c:v>1033.6500000000001</c:v>
                </c:pt>
                <c:pt idx="1111">
                  <c:v>1035.28</c:v>
                </c:pt>
                <c:pt idx="1112">
                  <c:v>1052.08</c:v>
                </c:pt>
                <c:pt idx="1113">
                  <c:v>1053.8900000000001</c:v>
                </c:pt>
                <c:pt idx="1114">
                  <c:v>1058.45</c:v>
                </c:pt>
                <c:pt idx="1115">
                  <c:v>1058.45</c:v>
                </c:pt>
                <c:pt idx="1116">
                  <c:v>1058.2</c:v>
                </c:pt>
                <c:pt idx="1117">
                  <c:v>1070.1199999999999</c:v>
                </c:pt>
                <c:pt idx="1118">
                  <c:v>1066.6199999999999</c:v>
                </c:pt>
                <c:pt idx="1119">
                  <c:v>1064.73</c:v>
                </c:pt>
                <c:pt idx="1120">
                  <c:v>1069.72</c:v>
                </c:pt>
                <c:pt idx="1121">
                  <c:v>1061.5</c:v>
                </c:pt>
                <c:pt idx="1122">
                  <c:v>1069.3</c:v>
                </c:pt>
                <c:pt idx="1123">
                  <c:v>1060.18</c:v>
                </c:pt>
                <c:pt idx="1124">
                  <c:v>1059.05</c:v>
                </c:pt>
                <c:pt idx="1125">
                  <c:v>1071.21</c:v>
                </c:pt>
                <c:pt idx="1126">
                  <c:v>1074.1400000000001</c:v>
                </c:pt>
                <c:pt idx="1127">
                  <c:v>1068.04</c:v>
                </c:pt>
                <c:pt idx="1128">
                  <c:v>1075.1300000000001</c:v>
                </c:pt>
                <c:pt idx="1129">
                  <c:v>1076.48</c:v>
                </c:pt>
                <c:pt idx="1130">
                  <c:v>1089.18</c:v>
                </c:pt>
                <c:pt idx="1131">
                  <c:v>1088.67</c:v>
                </c:pt>
                <c:pt idx="1132">
                  <c:v>1092.94</c:v>
                </c:pt>
                <c:pt idx="1133">
                  <c:v>1096.02</c:v>
                </c:pt>
                <c:pt idx="1134">
                  <c:v>1094.04</c:v>
                </c:pt>
                <c:pt idx="1135">
                  <c:v>1094.04</c:v>
                </c:pt>
                <c:pt idx="1136">
                  <c:v>1095.8900000000001</c:v>
                </c:pt>
                <c:pt idx="1137">
                  <c:v>1109.48</c:v>
                </c:pt>
                <c:pt idx="1138">
                  <c:v>1109.6400000000001</c:v>
                </c:pt>
                <c:pt idx="1139">
                  <c:v>1111.92</c:v>
                </c:pt>
                <c:pt idx="1140">
                  <c:v>1111.92</c:v>
                </c:pt>
                <c:pt idx="1141">
                  <c:v>1108.48</c:v>
                </c:pt>
                <c:pt idx="1142">
                  <c:v>1122.22</c:v>
                </c:pt>
                <c:pt idx="1143">
                  <c:v>1123.67</c:v>
                </c:pt>
                <c:pt idx="1144">
                  <c:v>1126.33</c:v>
                </c:pt>
                <c:pt idx="1145">
                  <c:v>1131.92</c:v>
                </c:pt>
                <c:pt idx="1146">
                  <c:v>1121.8499999999999</c:v>
                </c:pt>
                <c:pt idx="1147">
                  <c:v>1127.23</c:v>
                </c:pt>
                <c:pt idx="1148">
                  <c:v>1121.22</c:v>
                </c:pt>
                <c:pt idx="1149">
                  <c:v>1130.52</c:v>
                </c:pt>
                <c:pt idx="1150">
                  <c:v>1132.05</c:v>
                </c:pt>
                <c:pt idx="1151">
                  <c:v>1139.83</c:v>
                </c:pt>
                <c:pt idx="1152">
                  <c:v>1139.83</c:v>
                </c:pt>
                <c:pt idx="1153">
                  <c:v>1138.77</c:v>
                </c:pt>
                <c:pt idx="1154">
                  <c:v>1147.6199999999999</c:v>
                </c:pt>
                <c:pt idx="1155">
                  <c:v>1143.94</c:v>
                </c:pt>
                <c:pt idx="1156">
                  <c:v>1141.55</c:v>
                </c:pt>
                <c:pt idx="1157">
                  <c:v>1155.3699999999999</c:v>
                </c:pt>
                <c:pt idx="1158">
                  <c:v>1144.05</c:v>
                </c:pt>
                <c:pt idx="1159">
                  <c:v>1128.48</c:v>
                </c:pt>
                <c:pt idx="1160">
                  <c:v>1134.1099999999999</c:v>
                </c:pt>
                <c:pt idx="1161">
                  <c:v>1131.1300000000001</c:v>
                </c:pt>
                <c:pt idx="1162">
                  <c:v>1135.26</c:v>
                </c:pt>
                <c:pt idx="1163">
                  <c:v>1136.03</c:v>
                </c:pt>
                <c:pt idx="1164">
                  <c:v>1126.52</c:v>
                </c:pt>
                <c:pt idx="1165">
                  <c:v>1128.5899999999999</c:v>
                </c:pt>
                <c:pt idx="1166">
                  <c:v>1142.76</c:v>
                </c:pt>
                <c:pt idx="1167">
                  <c:v>1139.81</c:v>
                </c:pt>
                <c:pt idx="1168">
                  <c:v>1145.54</c:v>
                </c:pt>
                <c:pt idx="1169">
                  <c:v>1157.76</c:v>
                </c:pt>
                <c:pt idx="1170">
                  <c:v>1152.1099999999999</c:v>
                </c:pt>
                <c:pt idx="1171">
                  <c:v>1145.81</c:v>
                </c:pt>
                <c:pt idx="1172">
                  <c:v>1145.81</c:v>
                </c:pt>
                <c:pt idx="1173">
                  <c:v>1156.99</c:v>
                </c:pt>
                <c:pt idx="1174">
                  <c:v>1151.82</c:v>
                </c:pt>
                <c:pt idx="1175">
                  <c:v>1147.06</c:v>
                </c:pt>
                <c:pt idx="1176">
                  <c:v>1144.1099999999999</c:v>
                </c:pt>
                <c:pt idx="1177">
                  <c:v>1140.99</c:v>
                </c:pt>
                <c:pt idx="1178">
                  <c:v>1139.0899999999999</c:v>
                </c:pt>
                <c:pt idx="1179">
                  <c:v>1143.67</c:v>
                </c:pt>
                <c:pt idx="1180">
                  <c:v>1144.9100000000001</c:v>
                </c:pt>
                <c:pt idx="1181">
                  <c:v>1144.94</c:v>
                </c:pt>
                <c:pt idx="1182">
                  <c:v>1155.96</c:v>
                </c:pt>
                <c:pt idx="1183">
                  <c:v>1149.0999999999999</c:v>
                </c:pt>
                <c:pt idx="1184">
                  <c:v>1151.04</c:v>
                </c:pt>
                <c:pt idx="1185">
                  <c:v>1154.8800000000001</c:v>
                </c:pt>
                <c:pt idx="1186">
                  <c:v>1156.8699999999999</c:v>
                </c:pt>
                <c:pt idx="1187">
                  <c:v>1147.21</c:v>
                </c:pt>
                <c:pt idx="1188">
                  <c:v>1140.58</c:v>
                </c:pt>
                <c:pt idx="1189">
                  <c:v>1123.8900000000001</c:v>
                </c:pt>
                <c:pt idx="1190">
                  <c:v>1106.78</c:v>
                </c:pt>
                <c:pt idx="1191">
                  <c:v>1120.57</c:v>
                </c:pt>
                <c:pt idx="1192">
                  <c:v>1104.49</c:v>
                </c:pt>
                <c:pt idx="1193">
                  <c:v>1110.7</c:v>
                </c:pt>
                <c:pt idx="1194">
                  <c:v>1123.75</c:v>
                </c:pt>
                <c:pt idx="1195">
                  <c:v>1122.32</c:v>
                </c:pt>
                <c:pt idx="1196">
                  <c:v>1109.78</c:v>
                </c:pt>
                <c:pt idx="1197">
                  <c:v>1095.4000000000001</c:v>
                </c:pt>
                <c:pt idx="1198">
                  <c:v>1093.95</c:v>
                </c:pt>
                <c:pt idx="1199">
                  <c:v>1091.33</c:v>
                </c:pt>
                <c:pt idx="1200">
                  <c:v>1109.19</c:v>
                </c:pt>
                <c:pt idx="1201">
                  <c:v>1108.06</c:v>
                </c:pt>
                <c:pt idx="1202">
                  <c:v>1122.47</c:v>
                </c:pt>
                <c:pt idx="1203">
                  <c:v>1127</c:v>
                </c:pt>
                <c:pt idx="1204">
                  <c:v>1126.21</c:v>
                </c:pt>
                <c:pt idx="1205">
                  <c:v>1132.17</c:v>
                </c:pt>
                <c:pt idx="1206">
                  <c:v>1141.81</c:v>
                </c:pt>
                <c:pt idx="1207">
                  <c:v>1150.57</c:v>
                </c:pt>
                <c:pt idx="1208">
                  <c:v>1148.1600000000001</c:v>
                </c:pt>
                <c:pt idx="1209">
                  <c:v>1140.53</c:v>
                </c:pt>
                <c:pt idx="1210">
                  <c:v>1139.32</c:v>
                </c:pt>
                <c:pt idx="1211">
                  <c:v>1139.32</c:v>
                </c:pt>
                <c:pt idx="1212">
                  <c:v>1145.2</c:v>
                </c:pt>
                <c:pt idx="1213">
                  <c:v>1129.44</c:v>
                </c:pt>
                <c:pt idx="1214">
                  <c:v>1128.17</c:v>
                </c:pt>
                <c:pt idx="1215">
                  <c:v>1128.8399999999999</c:v>
                </c:pt>
                <c:pt idx="1216">
                  <c:v>1134.6099999999999</c:v>
                </c:pt>
                <c:pt idx="1217">
                  <c:v>1135.82</c:v>
                </c:pt>
                <c:pt idx="1218">
                  <c:v>1118.1500000000001</c:v>
                </c:pt>
                <c:pt idx="1219">
                  <c:v>1124.0899999999999</c:v>
                </c:pt>
                <c:pt idx="1220">
                  <c:v>1139.93</c:v>
                </c:pt>
                <c:pt idx="1221">
                  <c:v>1140.5999999999999</c:v>
                </c:pt>
                <c:pt idx="1222">
                  <c:v>1135.53</c:v>
                </c:pt>
                <c:pt idx="1223">
                  <c:v>1138.1099999999999</c:v>
                </c:pt>
                <c:pt idx="1224">
                  <c:v>1122.4100000000001</c:v>
                </c:pt>
                <c:pt idx="1225">
                  <c:v>1113.8900000000001</c:v>
                </c:pt>
                <c:pt idx="1226">
                  <c:v>1107.3</c:v>
                </c:pt>
                <c:pt idx="1227">
                  <c:v>1117.49</c:v>
                </c:pt>
                <c:pt idx="1228">
                  <c:v>1119.55</c:v>
                </c:pt>
                <c:pt idx="1229">
                  <c:v>1121.53</c:v>
                </c:pt>
                <c:pt idx="1230">
                  <c:v>1113.99</c:v>
                </c:pt>
                <c:pt idx="1231">
                  <c:v>1098.7</c:v>
                </c:pt>
                <c:pt idx="1232">
                  <c:v>1087.1199999999999</c:v>
                </c:pt>
                <c:pt idx="1233">
                  <c:v>1095.45</c:v>
                </c:pt>
                <c:pt idx="1234">
                  <c:v>1097.28</c:v>
                </c:pt>
                <c:pt idx="1235">
                  <c:v>1096.44</c:v>
                </c:pt>
                <c:pt idx="1236">
                  <c:v>1095.7</c:v>
                </c:pt>
                <c:pt idx="1237">
                  <c:v>1084.0999999999999</c:v>
                </c:pt>
                <c:pt idx="1238">
                  <c:v>1091.49</c:v>
                </c:pt>
                <c:pt idx="1239">
                  <c:v>1088.68</c:v>
                </c:pt>
                <c:pt idx="1240">
                  <c:v>1089.19</c:v>
                </c:pt>
                <c:pt idx="1241">
                  <c:v>1093.56</c:v>
                </c:pt>
                <c:pt idx="1242">
                  <c:v>1095.4100000000001</c:v>
                </c:pt>
                <c:pt idx="1243">
                  <c:v>1113.05</c:v>
                </c:pt>
                <c:pt idx="1244">
                  <c:v>1114.94</c:v>
                </c:pt>
                <c:pt idx="1245">
                  <c:v>1121.28</c:v>
                </c:pt>
                <c:pt idx="1246">
                  <c:v>1120.68</c:v>
                </c:pt>
                <c:pt idx="1247">
                  <c:v>1120.68</c:v>
                </c:pt>
                <c:pt idx="1248">
                  <c:v>1121.2</c:v>
                </c:pt>
                <c:pt idx="1249">
                  <c:v>1124.99</c:v>
                </c:pt>
                <c:pt idx="1250">
                  <c:v>1116.6400000000001</c:v>
                </c:pt>
                <c:pt idx="1251">
                  <c:v>1122.5</c:v>
                </c:pt>
                <c:pt idx="1252">
                  <c:v>1140.42</c:v>
                </c:pt>
                <c:pt idx="1253">
                  <c:v>1142.18</c:v>
                </c:pt>
                <c:pt idx="1254">
                  <c:v>1131.33</c:v>
                </c:pt>
                <c:pt idx="1255">
                  <c:v>1136.47</c:v>
                </c:pt>
                <c:pt idx="1256">
                  <c:v>1136.47</c:v>
                </c:pt>
                <c:pt idx="1257">
                  <c:v>1125.29</c:v>
                </c:pt>
                <c:pt idx="1258">
                  <c:v>1132.01</c:v>
                </c:pt>
                <c:pt idx="1259">
                  <c:v>1133.56</c:v>
                </c:pt>
                <c:pt idx="1260">
                  <c:v>1132.05</c:v>
                </c:pt>
                <c:pt idx="1261">
                  <c:v>1135.02</c:v>
                </c:pt>
                <c:pt idx="1262">
                  <c:v>1130.3</c:v>
                </c:pt>
                <c:pt idx="1263">
                  <c:v>1134.4100000000001</c:v>
                </c:pt>
                <c:pt idx="1264">
                  <c:v>1144.06</c:v>
                </c:pt>
                <c:pt idx="1265">
                  <c:v>1140.6500000000001</c:v>
                </c:pt>
                <c:pt idx="1266">
                  <c:v>1134.43</c:v>
                </c:pt>
                <c:pt idx="1267">
                  <c:v>1133.3499999999999</c:v>
                </c:pt>
                <c:pt idx="1268">
                  <c:v>1136.2</c:v>
                </c:pt>
                <c:pt idx="1269">
                  <c:v>1140.8399999999999</c:v>
                </c:pt>
                <c:pt idx="1270">
                  <c:v>1128.94</c:v>
                </c:pt>
                <c:pt idx="1271">
                  <c:v>1125.3800000000001</c:v>
                </c:pt>
                <c:pt idx="1272">
                  <c:v>1125.3800000000001</c:v>
                </c:pt>
                <c:pt idx="1273">
                  <c:v>1116.21</c:v>
                </c:pt>
                <c:pt idx="1274">
                  <c:v>1118.33</c:v>
                </c:pt>
                <c:pt idx="1275">
                  <c:v>1109.1099999999999</c:v>
                </c:pt>
                <c:pt idx="1276">
                  <c:v>1112.81</c:v>
                </c:pt>
                <c:pt idx="1277">
                  <c:v>1114.3499999999999</c:v>
                </c:pt>
                <c:pt idx="1278">
                  <c:v>1115.1400000000001</c:v>
                </c:pt>
                <c:pt idx="1279">
                  <c:v>1111.47</c:v>
                </c:pt>
                <c:pt idx="1280">
                  <c:v>1106.69</c:v>
                </c:pt>
                <c:pt idx="1281">
                  <c:v>1101.3900000000001</c:v>
                </c:pt>
                <c:pt idx="1282">
                  <c:v>1100.9000000000001</c:v>
                </c:pt>
                <c:pt idx="1283">
                  <c:v>1108.67</c:v>
                </c:pt>
                <c:pt idx="1284">
                  <c:v>1093.8800000000001</c:v>
                </c:pt>
                <c:pt idx="1285">
                  <c:v>1096.8399999999999</c:v>
                </c:pt>
                <c:pt idx="1286">
                  <c:v>1086.2</c:v>
                </c:pt>
                <c:pt idx="1287">
                  <c:v>1084.07</c:v>
                </c:pt>
                <c:pt idx="1288">
                  <c:v>1094.83</c:v>
                </c:pt>
                <c:pt idx="1289">
                  <c:v>1095.42</c:v>
                </c:pt>
                <c:pt idx="1290">
                  <c:v>1100.43</c:v>
                </c:pt>
                <c:pt idx="1291">
                  <c:v>1101.72</c:v>
                </c:pt>
                <c:pt idx="1292">
                  <c:v>1106.6199999999999</c:v>
                </c:pt>
                <c:pt idx="1293">
                  <c:v>1099.69</c:v>
                </c:pt>
                <c:pt idx="1294">
                  <c:v>1098.6300000000001</c:v>
                </c:pt>
                <c:pt idx="1295">
                  <c:v>1080.7</c:v>
                </c:pt>
                <c:pt idx="1296">
                  <c:v>1063.97</c:v>
                </c:pt>
                <c:pt idx="1297">
                  <c:v>1065.22</c:v>
                </c:pt>
                <c:pt idx="1298">
                  <c:v>1079.04</c:v>
                </c:pt>
                <c:pt idx="1299">
                  <c:v>1075.79</c:v>
                </c:pt>
                <c:pt idx="1300">
                  <c:v>1063.23</c:v>
                </c:pt>
                <c:pt idx="1301">
                  <c:v>1064.8</c:v>
                </c:pt>
                <c:pt idx="1302">
                  <c:v>1079.3399999999999</c:v>
                </c:pt>
                <c:pt idx="1303">
                  <c:v>1081.71</c:v>
                </c:pt>
                <c:pt idx="1304">
                  <c:v>1095.17</c:v>
                </c:pt>
                <c:pt idx="1305">
                  <c:v>1091.23</c:v>
                </c:pt>
                <c:pt idx="1306">
                  <c:v>1098.3499999999999</c:v>
                </c:pt>
                <c:pt idx="1307">
                  <c:v>1095.68</c:v>
                </c:pt>
                <c:pt idx="1308">
                  <c:v>1096.19</c:v>
                </c:pt>
                <c:pt idx="1309">
                  <c:v>1104.96</c:v>
                </c:pt>
                <c:pt idx="1310">
                  <c:v>1105.0899999999999</c:v>
                </c:pt>
                <c:pt idx="1311">
                  <c:v>1107.77</c:v>
                </c:pt>
                <c:pt idx="1312">
                  <c:v>1099.1500000000001</c:v>
                </c:pt>
                <c:pt idx="1313">
                  <c:v>1104.24</c:v>
                </c:pt>
                <c:pt idx="1314">
                  <c:v>1105.9100000000001</c:v>
                </c:pt>
                <c:pt idx="1315">
                  <c:v>1118.31</c:v>
                </c:pt>
                <c:pt idx="1316">
                  <c:v>1113.6300000000001</c:v>
                </c:pt>
                <c:pt idx="1317">
                  <c:v>1113.6300000000001</c:v>
                </c:pt>
                <c:pt idx="1318">
                  <c:v>1121.3</c:v>
                </c:pt>
                <c:pt idx="1319">
                  <c:v>1116.27</c:v>
                </c:pt>
                <c:pt idx="1320">
                  <c:v>1118.3800000000001</c:v>
                </c:pt>
                <c:pt idx="1321">
                  <c:v>1123.92</c:v>
                </c:pt>
                <c:pt idx="1322">
                  <c:v>1125.82</c:v>
                </c:pt>
                <c:pt idx="1323">
                  <c:v>1128.33</c:v>
                </c:pt>
                <c:pt idx="1324">
                  <c:v>1120.3699999999999</c:v>
                </c:pt>
                <c:pt idx="1325">
                  <c:v>1123.5</c:v>
                </c:pt>
                <c:pt idx="1326">
                  <c:v>1128.55</c:v>
                </c:pt>
                <c:pt idx="1327">
                  <c:v>1122.2</c:v>
                </c:pt>
                <c:pt idx="1328">
                  <c:v>1129.3</c:v>
                </c:pt>
                <c:pt idx="1329">
                  <c:v>1113.56</c:v>
                </c:pt>
                <c:pt idx="1330">
                  <c:v>1108.3599999999999</c:v>
                </c:pt>
                <c:pt idx="1331">
                  <c:v>1110.1099999999999</c:v>
                </c:pt>
                <c:pt idx="1332">
                  <c:v>1103.52</c:v>
                </c:pt>
                <c:pt idx="1333">
                  <c:v>1110.06</c:v>
                </c:pt>
                <c:pt idx="1334">
                  <c:v>1114.8</c:v>
                </c:pt>
                <c:pt idx="1335">
                  <c:v>1114.58</c:v>
                </c:pt>
                <c:pt idx="1336">
                  <c:v>1131.5</c:v>
                </c:pt>
                <c:pt idx="1337">
                  <c:v>1135.17</c:v>
                </c:pt>
                <c:pt idx="1338">
                  <c:v>1134.48</c:v>
                </c:pt>
                <c:pt idx="1339">
                  <c:v>1142.05</c:v>
                </c:pt>
                <c:pt idx="1340">
                  <c:v>1130.6500000000001</c:v>
                </c:pt>
                <c:pt idx="1341">
                  <c:v>1122.1400000000001</c:v>
                </c:pt>
                <c:pt idx="1342">
                  <c:v>1124.3900000000001</c:v>
                </c:pt>
                <c:pt idx="1343">
                  <c:v>1121.8399999999999</c:v>
                </c:pt>
                <c:pt idx="1344">
                  <c:v>1113.6500000000001</c:v>
                </c:pt>
                <c:pt idx="1345">
                  <c:v>1103.29</c:v>
                </c:pt>
                <c:pt idx="1346">
                  <c:v>1108.2</c:v>
                </c:pt>
                <c:pt idx="1347">
                  <c:v>1114.02</c:v>
                </c:pt>
                <c:pt idx="1348">
                  <c:v>1103.23</c:v>
                </c:pt>
                <c:pt idx="1349">
                  <c:v>1103.6600000000001</c:v>
                </c:pt>
                <c:pt idx="1350">
                  <c:v>1106.49</c:v>
                </c:pt>
                <c:pt idx="1351">
                  <c:v>1095.74</c:v>
                </c:pt>
                <c:pt idx="1352">
                  <c:v>1094.81</c:v>
                </c:pt>
                <c:pt idx="1353">
                  <c:v>1111.0899999999999</c:v>
                </c:pt>
                <c:pt idx="1354">
                  <c:v>1125.4000000000001</c:v>
                </c:pt>
                <c:pt idx="1355">
                  <c:v>1127.44</c:v>
                </c:pt>
                <c:pt idx="1356">
                  <c:v>1130.2</c:v>
                </c:pt>
                <c:pt idx="1357">
                  <c:v>1130.51</c:v>
                </c:pt>
                <c:pt idx="1358">
                  <c:v>1130.54</c:v>
                </c:pt>
                <c:pt idx="1359">
                  <c:v>1143.2</c:v>
                </c:pt>
                <c:pt idx="1360">
                  <c:v>1161.67</c:v>
                </c:pt>
                <c:pt idx="1361">
                  <c:v>1166.17</c:v>
                </c:pt>
                <c:pt idx="1362">
                  <c:v>1164.8900000000001</c:v>
                </c:pt>
                <c:pt idx="1363">
                  <c:v>1164.08</c:v>
                </c:pt>
                <c:pt idx="1364">
                  <c:v>1162.9100000000001</c:v>
                </c:pt>
                <c:pt idx="1365">
                  <c:v>1173.48</c:v>
                </c:pt>
                <c:pt idx="1366">
                  <c:v>1184.17</c:v>
                </c:pt>
                <c:pt idx="1367">
                  <c:v>1183.81</c:v>
                </c:pt>
                <c:pt idx="1368">
                  <c:v>1175.43</c:v>
                </c:pt>
                <c:pt idx="1369">
                  <c:v>1181.94</c:v>
                </c:pt>
                <c:pt idx="1370">
                  <c:v>1183.55</c:v>
                </c:pt>
                <c:pt idx="1371">
                  <c:v>1170.3399999999999</c:v>
                </c:pt>
                <c:pt idx="1372">
                  <c:v>1177.24</c:v>
                </c:pt>
                <c:pt idx="1373">
                  <c:v>1176.94</c:v>
                </c:pt>
                <c:pt idx="1374">
                  <c:v>1181.76</c:v>
                </c:pt>
                <c:pt idx="1375">
                  <c:v>1181.76</c:v>
                </c:pt>
                <c:pt idx="1376">
                  <c:v>1182.6500000000001</c:v>
                </c:pt>
                <c:pt idx="1377">
                  <c:v>1178.57</c:v>
                </c:pt>
                <c:pt idx="1378">
                  <c:v>1173.82</c:v>
                </c:pt>
                <c:pt idx="1379">
                  <c:v>1191.3699999999999</c:v>
                </c:pt>
                <c:pt idx="1380">
                  <c:v>1190.33</c:v>
                </c:pt>
                <c:pt idx="1381">
                  <c:v>1191.17</c:v>
                </c:pt>
                <c:pt idx="1382">
                  <c:v>1190.25</c:v>
                </c:pt>
                <c:pt idx="1383">
                  <c:v>1177.07</c:v>
                </c:pt>
                <c:pt idx="1384">
                  <c:v>1182.81</c:v>
                </c:pt>
                <c:pt idx="1385">
                  <c:v>1189.24</c:v>
                </c:pt>
                <c:pt idx="1386">
                  <c:v>1188</c:v>
                </c:pt>
                <c:pt idx="1387">
                  <c:v>1198.68</c:v>
                </c:pt>
                <c:pt idx="1388">
                  <c:v>1203.3800000000001</c:v>
                </c:pt>
                <c:pt idx="1389">
                  <c:v>1205.72</c:v>
                </c:pt>
                <c:pt idx="1390">
                  <c:v>1203.21</c:v>
                </c:pt>
                <c:pt idx="1391">
                  <c:v>1194.22</c:v>
                </c:pt>
                <c:pt idx="1392">
                  <c:v>1194.6500000000001</c:v>
                </c:pt>
                <c:pt idx="1393">
                  <c:v>1205.45</c:v>
                </c:pt>
                <c:pt idx="1394">
                  <c:v>1209.57</c:v>
                </c:pt>
                <c:pt idx="1395">
                  <c:v>1210.1300000000001</c:v>
                </c:pt>
                <c:pt idx="1396">
                  <c:v>1210.1300000000001</c:v>
                </c:pt>
                <c:pt idx="1397">
                  <c:v>1204.92</c:v>
                </c:pt>
                <c:pt idx="1398">
                  <c:v>1213.54</c:v>
                </c:pt>
                <c:pt idx="1399">
                  <c:v>1213.45</c:v>
                </c:pt>
                <c:pt idx="1400">
                  <c:v>1213.55</c:v>
                </c:pt>
                <c:pt idx="1401">
                  <c:v>1211.92</c:v>
                </c:pt>
                <c:pt idx="1402">
                  <c:v>1202.08</c:v>
                </c:pt>
                <c:pt idx="1403">
                  <c:v>1188.04</c:v>
                </c:pt>
                <c:pt idx="1404">
                  <c:v>1183.74</c:v>
                </c:pt>
                <c:pt idx="1405">
                  <c:v>1187.8900000000001</c:v>
                </c:pt>
                <c:pt idx="1406">
                  <c:v>1186.19</c:v>
                </c:pt>
                <c:pt idx="1407">
                  <c:v>1190.25</c:v>
                </c:pt>
                <c:pt idx="1408">
                  <c:v>1182.99</c:v>
                </c:pt>
                <c:pt idx="1409">
                  <c:v>1187.7</c:v>
                </c:pt>
                <c:pt idx="1410">
                  <c:v>1177.45</c:v>
                </c:pt>
                <c:pt idx="1411">
                  <c:v>1184.52</c:v>
                </c:pt>
                <c:pt idx="1412">
                  <c:v>1184.52</c:v>
                </c:pt>
                <c:pt idx="1413">
                  <c:v>1195.98</c:v>
                </c:pt>
                <c:pt idx="1414">
                  <c:v>1184.6300000000001</c:v>
                </c:pt>
                <c:pt idx="1415">
                  <c:v>1175.4100000000001</c:v>
                </c:pt>
                <c:pt idx="1416">
                  <c:v>1167.8699999999999</c:v>
                </c:pt>
                <c:pt idx="1417">
                  <c:v>1163.75</c:v>
                </c:pt>
                <c:pt idx="1418">
                  <c:v>1168.4100000000001</c:v>
                </c:pt>
                <c:pt idx="1419">
                  <c:v>1174.07</c:v>
                </c:pt>
                <c:pt idx="1420">
                  <c:v>1174.55</c:v>
                </c:pt>
                <c:pt idx="1421">
                  <c:v>1171.3599999999999</c:v>
                </c:pt>
                <c:pt idx="1422">
                  <c:v>1181.27</c:v>
                </c:pt>
                <c:pt idx="1423">
                  <c:v>1189.4100000000001</c:v>
                </c:pt>
                <c:pt idx="1424">
                  <c:v>1193.19</c:v>
                </c:pt>
                <c:pt idx="1425">
                  <c:v>1189.8900000000001</c:v>
                </c:pt>
                <c:pt idx="1426">
                  <c:v>1203.03</c:v>
                </c:pt>
                <c:pt idx="1427">
                  <c:v>1201.72</c:v>
                </c:pt>
                <c:pt idx="1428">
                  <c:v>1202.3</c:v>
                </c:pt>
                <c:pt idx="1429">
                  <c:v>1191.99</c:v>
                </c:pt>
                <c:pt idx="1430">
                  <c:v>1197.01</c:v>
                </c:pt>
                <c:pt idx="1431">
                  <c:v>1205.3</c:v>
                </c:pt>
                <c:pt idx="1432">
                  <c:v>1206.1400000000001</c:v>
                </c:pt>
                <c:pt idx="1433">
                  <c:v>1210.1199999999999</c:v>
                </c:pt>
                <c:pt idx="1434">
                  <c:v>1210.3399999999999</c:v>
                </c:pt>
                <c:pt idx="1435">
                  <c:v>1200.75</c:v>
                </c:pt>
                <c:pt idx="1436">
                  <c:v>1201.5899999999999</c:v>
                </c:pt>
                <c:pt idx="1437">
                  <c:v>1201.5899999999999</c:v>
                </c:pt>
                <c:pt idx="1438">
                  <c:v>1184.1600000000001</c:v>
                </c:pt>
                <c:pt idx="1439">
                  <c:v>1190.8</c:v>
                </c:pt>
                <c:pt idx="1440">
                  <c:v>1200.2</c:v>
                </c:pt>
                <c:pt idx="1441">
                  <c:v>1211.3699999999999</c:v>
                </c:pt>
                <c:pt idx="1442">
                  <c:v>1203.5999999999999</c:v>
                </c:pt>
                <c:pt idx="1443">
                  <c:v>1210.4100000000001</c:v>
                </c:pt>
                <c:pt idx="1444">
                  <c:v>1210.08</c:v>
                </c:pt>
                <c:pt idx="1445">
                  <c:v>1210.47</c:v>
                </c:pt>
                <c:pt idx="1446">
                  <c:v>1222.1199999999999</c:v>
                </c:pt>
                <c:pt idx="1447">
                  <c:v>1225.31</c:v>
                </c:pt>
                <c:pt idx="1448">
                  <c:v>1219.43</c:v>
                </c:pt>
                <c:pt idx="1449">
                  <c:v>1207.01</c:v>
                </c:pt>
                <c:pt idx="1450">
                  <c:v>1209.25</c:v>
                </c:pt>
                <c:pt idx="1451">
                  <c:v>1200.07</c:v>
                </c:pt>
                <c:pt idx="1452">
                  <c:v>1206.83</c:v>
                </c:pt>
                <c:pt idx="1453">
                  <c:v>1197.75</c:v>
                </c:pt>
                <c:pt idx="1454">
                  <c:v>1188.07</c:v>
                </c:pt>
                <c:pt idx="1455">
                  <c:v>1190.21</c:v>
                </c:pt>
                <c:pt idx="1456">
                  <c:v>1189.6500000000001</c:v>
                </c:pt>
                <c:pt idx="1457">
                  <c:v>1183.78</c:v>
                </c:pt>
                <c:pt idx="1458">
                  <c:v>1171.71</c:v>
                </c:pt>
                <c:pt idx="1459">
                  <c:v>1172.53</c:v>
                </c:pt>
                <c:pt idx="1460">
                  <c:v>1171.42</c:v>
                </c:pt>
                <c:pt idx="1461">
                  <c:v>1171.42</c:v>
                </c:pt>
                <c:pt idx="1462">
                  <c:v>1174.28</c:v>
                </c:pt>
                <c:pt idx="1463">
                  <c:v>1165.3599999999999</c:v>
                </c:pt>
                <c:pt idx="1464">
                  <c:v>1181.4100000000001</c:v>
                </c:pt>
                <c:pt idx="1465">
                  <c:v>1180.5899999999999</c:v>
                </c:pt>
                <c:pt idx="1466">
                  <c:v>1172.92</c:v>
                </c:pt>
                <c:pt idx="1467">
                  <c:v>1176.1199999999999</c:v>
                </c:pt>
                <c:pt idx="1468">
                  <c:v>1181.3900000000001</c:v>
                </c:pt>
                <c:pt idx="1469">
                  <c:v>1184.07</c:v>
                </c:pt>
                <c:pt idx="1470">
                  <c:v>1191.1400000000001</c:v>
                </c:pt>
                <c:pt idx="1471">
                  <c:v>1181.2</c:v>
                </c:pt>
                <c:pt idx="1472">
                  <c:v>1181.21</c:v>
                </c:pt>
                <c:pt idx="1473">
                  <c:v>1187.76</c:v>
                </c:pt>
                <c:pt idx="1474">
                  <c:v>1173.79</c:v>
                </c:pt>
                <c:pt idx="1475">
                  <c:v>1162.05</c:v>
                </c:pt>
                <c:pt idx="1476">
                  <c:v>1142.6199999999999</c:v>
                </c:pt>
                <c:pt idx="1477">
                  <c:v>1145.98</c:v>
                </c:pt>
                <c:pt idx="1478">
                  <c:v>1152.78</c:v>
                </c:pt>
                <c:pt idx="1479">
                  <c:v>1137.5</c:v>
                </c:pt>
                <c:pt idx="1480">
                  <c:v>1159.95</c:v>
                </c:pt>
                <c:pt idx="1481">
                  <c:v>1152.1199999999999</c:v>
                </c:pt>
                <c:pt idx="1482">
                  <c:v>1162.0999999999999</c:v>
                </c:pt>
                <c:pt idx="1483">
                  <c:v>1151.74</c:v>
                </c:pt>
                <c:pt idx="1484">
                  <c:v>1156.3800000000001</c:v>
                </c:pt>
                <c:pt idx="1485">
                  <c:v>1143.22</c:v>
                </c:pt>
                <c:pt idx="1486">
                  <c:v>1156.8499999999999</c:v>
                </c:pt>
                <c:pt idx="1487">
                  <c:v>1162.1600000000001</c:v>
                </c:pt>
                <c:pt idx="1488">
                  <c:v>1161.17</c:v>
                </c:pt>
                <c:pt idx="1489">
                  <c:v>1175.6500000000001</c:v>
                </c:pt>
                <c:pt idx="1490">
                  <c:v>1172.6300000000001</c:v>
                </c:pt>
                <c:pt idx="1491">
                  <c:v>1171.3499999999999</c:v>
                </c:pt>
                <c:pt idx="1492">
                  <c:v>1178.8399999999999</c:v>
                </c:pt>
                <c:pt idx="1493">
                  <c:v>1166.22</c:v>
                </c:pt>
                <c:pt idx="1494">
                  <c:v>1171.1099999999999</c:v>
                </c:pt>
                <c:pt idx="1495">
                  <c:v>1159.3599999999999</c:v>
                </c:pt>
                <c:pt idx="1496">
                  <c:v>1154.05</c:v>
                </c:pt>
                <c:pt idx="1497">
                  <c:v>1165.69</c:v>
                </c:pt>
                <c:pt idx="1498">
                  <c:v>1173.8</c:v>
                </c:pt>
                <c:pt idx="1499">
                  <c:v>1185.56</c:v>
                </c:pt>
                <c:pt idx="1500">
                  <c:v>1191.08</c:v>
                </c:pt>
                <c:pt idx="1501">
                  <c:v>1189.28</c:v>
                </c:pt>
                <c:pt idx="1502">
                  <c:v>1193.8599999999999</c:v>
                </c:pt>
                <c:pt idx="1503">
                  <c:v>1194.07</c:v>
                </c:pt>
                <c:pt idx="1504">
                  <c:v>1190.01</c:v>
                </c:pt>
                <c:pt idx="1505">
                  <c:v>1197.6199999999999</c:v>
                </c:pt>
                <c:pt idx="1506">
                  <c:v>1198.78</c:v>
                </c:pt>
                <c:pt idx="1507">
                  <c:v>1198.78</c:v>
                </c:pt>
                <c:pt idx="1508">
                  <c:v>1191.5</c:v>
                </c:pt>
                <c:pt idx="1509">
                  <c:v>1202.27</c:v>
                </c:pt>
                <c:pt idx="1510">
                  <c:v>1204.29</c:v>
                </c:pt>
                <c:pt idx="1511">
                  <c:v>1196.02</c:v>
                </c:pt>
                <c:pt idx="1512">
                  <c:v>1197.51</c:v>
                </c:pt>
                <c:pt idx="1513">
                  <c:v>1197.26</c:v>
                </c:pt>
                <c:pt idx="1514">
                  <c:v>1194.67</c:v>
                </c:pt>
                <c:pt idx="1515">
                  <c:v>1200.93</c:v>
                </c:pt>
                <c:pt idx="1516">
                  <c:v>1198.1099999999999</c:v>
                </c:pt>
                <c:pt idx="1517">
                  <c:v>1200.82</c:v>
                </c:pt>
                <c:pt idx="1518">
                  <c:v>1203.9100000000001</c:v>
                </c:pt>
                <c:pt idx="1519">
                  <c:v>1206.58</c:v>
                </c:pt>
                <c:pt idx="1520">
                  <c:v>1210.96</c:v>
                </c:pt>
                <c:pt idx="1521">
                  <c:v>1216.96</c:v>
                </c:pt>
                <c:pt idx="1522">
                  <c:v>1216.0999999999999</c:v>
                </c:pt>
                <c:pt idx="1523">
                  <c:v>1213.6099999999999</c:v>
                </c:pt>
                <c:pt idx="1524">
                  <c:v>1213.8800000000001</c:v>
                </c:pt>
                <c:pt idx="1525">
                  <c:v>1200.73</c:v>
                </c:pt>
                <c:pt idx="1526">
                  <c:v>1191.57</c:v>
                </c:pt>
                <c:pt idx="1527">
                  <c:v>1190.69</c:v>
                </c:pt>
                <c:pt idx="1528">
                  <c:v>1201.57</c:v>
                </c:pt>
                <c:pt idx="1529">
                  <c:v>1199.8499999999999</c:v>
                </c:pt>
                <c:pt idx="1530">
                  <c:v>1191.33</c:v>
                </c:pt>
                <c:pt idx="1531">
                  <c:v>1194.44</c:v>
                </c:pt>
                <c:pt idx="1532">
                  <c:v>1194.44</c:v>
                </c:pt>
                <c:pt idx="1533">
                  <c:v>1204.99</c:v>
                </c:pt>
                <c:pt idx="1534">
                  <c:v>1194.94</c:v>
                </c:pt>
                <c:pt idx="1535">
                  <c:v>1197.8699999999999</c:v>
                </c:pt>
                <c:pt idx="1536">
                  <c:v>1211.8599999999999</c:v>
                </c:pt>
                <c:pt idx="1537">
                  <c:v>1219.44</c:v>
                </c:pt>
                <c:pt idx="1538">
                  <c:v>1222.21</c:v>
                </c:pt>
                <c:pt idx="1539">
                  <c:v>1223.29</c:v>
                </c:pt>
                <c:pt idx="1540">
                  <c:v>1226.5</c:v>
                </c:pt>
                <c:pt idx="1541">
                  <c:v>1227.92</c:v>
                </c:pt>
                <c:pt idx="1542">
                  <c:v>1221.1300000000001</c:v>
                </c:pt>
                <c:pt idx="1543">
                  <c:v>1229.3499999999999</c:v>
                </c:pt>
                <c:pt idx="1544">
                  <c:v>1235.2</c:v>
                </c:pt>
                <c:pt idx="1545">
                  <c:v>1227.04</c:v>
                </c:pt>
                <c:pt idx="1546">
                  <c:v>1233.68</c:v>
                </c:pt>
                <c:pt idx="1547">
                  <c:v>1229.03</c:v>
                </c:pt>
                <c:pt idx="1548">
                  <c:v>1231.1600000000001</c:v>
                </c:pt>
                <c:pt idx="1549">
                  <c:v>1236.79</c:v>
                </c:pt>
                <c:pt idx="1550">
                  <c:v>1243.72</c:v>
                </c:pt>
                <c:pt idx="1551">
                  <c:v>1234.18</c:v>
                </c:pt>
                <c:pt idx="1552">
                  <c:v>1235.3499999999999</c:v>
                </c:pt>
                <c:pt idx="1553">
                  <c:v>1244.1199999999999</c:v>
                </c:pt>
                <c:pt idx="1554">
                  <c:v>1245.04</c:v>
                </c:pt>
                <c:pt idx="1555">
                  <c:v>1235.8599999999999</c:v>
                </c:pt>
                <c:pt idx="1556">
                  <c:v>1226.42</c:v>
                </c:pt>
                <c:pt idx="1557">
                  <c:v>1223.1300000000001</c:v>
                </c:pt>
                <c:pt idx="1558">
                  <c:v>1231.3800000000001</c:v>
                </c:pt>
                <c:pt idx="1559">
                  <c:v>1229.1300000000001</c:v>
                </c:pt>
                <c:pt idx="1560">
                  <c:v>1237.81</c:v>
                </c:pt>
                <c:pt idx="1561">
                  <c:v>1230.3900000000001</c:v>
                </c:pt>
                <c:pt idx="1562">
                  <c:v>1233.8699999999999</c:v>
                </c:pt>
                <c:pt idx="1563">
                  <c:v>1219.3399999999999</c:v>
                </c:pt>
                <c:pt idx="1564">
                  <c:v>1220.24</c:v>
                </c:pt>
                <c:pt idx="1565">
                  <c:v>1219.02</c:v>
                </c:pt>
                <c:pt idx="1566">
                  <c:v>1219.71</c:v>
                </c:pt>
                <c:pt idx="1567">
                  <c:v>1221.73</c:v>
                </c:pt>
                <c:pt idx="1568">
                  <c:v>1217.57</c:v>
                </c:pt>
                <c:pt idx="1569">
                  <c:v>1209.5899999999999</c:v>
                </c:pt>
                <c:pt idx="1570">
                  <c:v>1212.3900000000001</c:v>
                </c:pt>
                <c:pt idx="1571">
                  <c:v>1205.0999999999999</c:v>
                </c:pt>
                <c:pt idx="1572">
                  <c:v>1212.28</c:v>
                </c:pt>
                <c:pt idx="1573">
                  <c:v>1208.4100000000001</c:v>
                </c:pt>
                <c:pt idx="1574">
                  <c:v>1220.33</c:v>
                </c:pt>
                <c:pt idx="1575">
                  <c:v>1221.5899999999999</c:v>
                </c:pt>
                <c:pt idx="1576">
                  <c:v>1218.02</c:v>
                </c:pt>
                <c:pt idx="1577">
                  <c:v>1218.02</c:v>
                </c:pt>
                <c:pt idx="1578">
                  <c:v>1233.3900000000001</c:v>
                </c:pt>
                <c:pt idx="1579">
                  <c:v>1236.3599999999999</c:v>
                </c:pt>
                <c:pt idx="1580">
                  <c:v>1231.67</c:v>
                </c:pt>
                <c:pt idx="1581">
                  <c:v>1241.48</c:v>
                </c:pt>
                <c:pt idx="1582">
                  <c:v>1240.56</c:v>
                </c:pt>
                <c:pt idx="1583">
                  <c:v>1231.2</c:v>
                </c:pt>
                <c:pt idx="1584">
                  <c:v>1227.1600000000001</c:v>
                </c:pt>
                <c:pt idx="1585">
                  <c:v>1227.73</c:v>
                </c:pt>
                <c:pt idx="1586">
                  <c:v>1237.9100000000001</c:v>
                </c:pt>
                <c:pt idx="1587">
                  <c:v>1231.02</c:v>
                </c:pt>
                <c:pt idx="1588">
                  <c:v>1221.3399999999999</c:v>
                </c:pt>
                <c:pt idx="1589">
                  <c:v>1210.2</c:v>
                </c:pt>
                <c:pt idx="1590">
                  <c:v>1214.6199999999999</c:v>
                </c:pt>
                <c:pt idx="1591">
                  <c:v>1215.29</c:v>
                </c:pt>
                <c:pt idx="1592">
                  <c:v>1215.6300000000001</c:v>
                </c:pt>
                <c:pt idx="1593">
                  <c:v>1215.6600000000001</c:v>
                </c:pt>
                <c:pt idx="1594">
                  <c:v>1216.8900000000001</c:v>
                </c:pt>
                <c:pt idx="1595">
                  <c:v>1227.68</c:v>
                </c:pt>
                <c:pt idx="1596">
                  <c:v>1228.81</c:v>
                </c:pt>
                <c:pt idx="1597">
                  <c:v>1226.7</c:v>
                </c:pt>
                <c:pt idx="1598">
                  <c:v>1214.47</c:v>
                </c:pt>
                <c:pt idx="1599">
                  <c:v>1196.3900000000001</c:v>
                </c:pt>
                <c:pt idx="1600">
                  <c:v>1191.49</c:v>
                </c:pt>
                <c:pt idx="1601">
                  <c:v>1195.9000000000001</c:v>
                </c:pt>
                <c:pt idx="1602">
                  <c:v>1187.33</c:v>
                </c:pt>
                <c:pt idx="1603">
                  <c:v>1184.8699999999999</c:v>
                </c:pt>
                <c:pt idx="1604">
                  <c:v>1177.68</c:v>
                </c:pt>
                <c:pt idx="1605">
                  <c:v>1176.8399999999999</c:v>
                </c:pt>
                <c:pt idx="1606">
                  <c:v>1186.57</c:v>
                </c:pt>
                <c:pt idx="1607">
                  <c:v>1190.0999999999999</c:v>
                </c:pt>
                <c:pt idx="1608">
                  <c:v>1178.1400000000001</c:v>
                </c:pt>
                <c:pt idx="1609">
                  <c:v>1195.76</c:v>
                </c:pt>
                <c:pt idx="1610">
                  <c:v>1177.8</c:v>
                </c:pt>
                <c:pt idx="1611">
                  <c:v>1179.5899999999999</c:v>
                </c:pt>
                <c:pt idx="1612">
                  <c:v>1199.3800000000001</c:v>
                </c:pt>
                <c:pt idx="1613">
                  <c:v>1196.54</c:v>
                </c:pt>
                <c:pt idx="1614">
                  <c:v>1191.3800000000001</c:v>
                </c:pt>
                <c:pt idx="1615">
                  <c:v>1178.9000000000001</c:v>
                </c:pt>
                <c:pt idx="1616">
                  <c:v>1198.4100000000001</c:v>
                </c:pt>
                <c:pt idx="1617">
                  <c:v>1207.01</c:v>
                </c:pt>
                <c:pt idx="1618">
                  <c:v>1202.76</c:v>
                </c:pt>
                <c:pt idx="1619">
                  <c:v>1214.76</c:v>
                </c:pt>
                <c:pt idx="1620">
                  <c:v>1219.94</c:v>
                </c:pt>
                <c:pt idx="1621">
                  <c:v>1220.1400000000001</c:v>
                </c:pt>
                <c:pt idx="1622">
                  <c:v>1222.81</c:v>
                </c:pt>
                <c:pt idx="1623">
                  <c:v>1218.5899999999999</c:v>
                </c:pt>
                <c:pt idx="1624">
                  <c:v>1220.6500000000001</c:v>
                </c:pt>
                <c:pt idx="1625">
                  <c:v>1230.96</c:v>
                </c:pt>
                <c:pt idx="1626">
                  <c:v>1234.72</c:v>
                </c:pt>
                <c:pt idx="1627">
                  <c:v>1233.76</c:v>
                </c:pt>
                <c:pt idx="1628">
                  <c:v>1229.01</c:v>
                </c:pt>
                <c:pt idx="1629">
                  <c:v>1231.21</c:v>
                </c:pt>
                <c:pt idx="1630">
                  <c:v>1242.8</c:v>
                </c:pt>
                <c:pt idx="1631">
                  <c:v>1248.27</c:v>
                </c:pt>
                <c:pt idx="1632">
                  <c:v>1254.8499999999999</c:v>
                </c:pt>
                <c:pt idx="1633">
                  <c:v>1261.23</c:v>
                </c:pt>
                <c:pt idx="1634">
                  <c:v>1265.6099999999999</c:v>
                </c:pt>
                <c:pt idx="1635">
                  <c:v>1265.6099999999999</c:v>
                </c:pt>
                <c:pt idx="1636">
                  <c:v>1268.25</c:v>
                </c:pt>
                <c:pt idx="1637">
                  <c:v>1257.46</c:v>
                </c:pt>
                <c:pt idx="1638">
                  <c:v>1257.48</c:v>
                </c:pt>
                <c:pt idx="1639">
                  <c:v>1249.48</c:v>
                </c:pt>
                <c:pt idx="1640">
                  <c:v>1264.67</c:v>
                </c:pt>
                <c:pt idx="1641">
                  <c:v>1265.08</c:v>
                </c:pt>
                <c:pt idx="1642">
                  <c:v>1262.0899999999999</c:v>
                </c:pt>
                <c:pt idx="1643">
                  <c:v>1263.7</c:v>
                </c:pt>
                <c:pt idx="1644">
                  <c:v>1257.3599999999999</c:v>
                </c:pt>
                <c:pt idx="1645">
                  <c:v>1255.8399999999999</c:v>
                </c:pt>
                <c:pt idx="1646">
                  <c:v>1259.3699999999999</c:v>
                </c:pt>
                <c:pt idx="1647">
                  <c:v>1260.43</c:v>
                </c:pt>
                <c:pt idx="1648">
                  <c:v>1267.43</c:v>
                </c:pt>
                <c:pt idx="1649">
                  <c:v>1272.74</c:v>
                </c:pt>
                <c:pt idx="1650">
                  <c:v>1270.94</c:v>
                </c:pt>
                <c:pt idx="1651">
                  <c:v>1267.32</c:v>
                </c:pt>
                <c:pt idx="1652">
                  <c:v>1259.92</c:v>
                </c:pt>
                <c:pt idx="1653">
                  <c:v>1259.6199999999999</c:v>
                </c:pt>
                <c:pt idx="1654">
                  <c:v>1262.79</c:v>
                </c:pt>
                <c:pt idx="1655">
                  <c:v>1268.1199999999999</c:v>
                </c:pt>
                <c:pt idx="1656">
                  <c:v>1268.6600000000001</c:v>
                </c:pt>
                <c:pt idx="1657">
                  <c:v>1268.6600000000001</c:v>
                </c:pt>
                <c:pt idx="1658">
                  <c:v>1256.54</c:v>
                </c:pt>
                <c:pt idx="1659">
                  <c:v>1258.17</c:v>
                </c:pt>
                <c:pt idx="1660">
                  <c:v>1254.42</c:v>
                </c:pt>
                <c:pt idx="1661">
                  <c:v>1248.29</c:v>
                </c:pt>
                <c:pt idx="1662">
                  <c:v>1248.29</c:v>
                </c:pt>
                <c:pt idx="1663">
                  <c:v>1268.8</c:v>
                </c:pt>
                <c:pt idx="1664">
                  <c:v>1273.46</c:v>
                </c:pt>
                <c:pt idx="1665">
                  <c:v>1273.48</c:v>
                </c:pt>
                <c:pt idx="1666">
                  <c:v>1285.45</c:v>
                </c:pt>
                <c:pt idx="1667">
                  <c:v>1290.1500000000001</c:v>
                </c:pt>
                <c:pt idx="1668">
                  <c:v>1289.69</c:v>
                </c:pt>
                <c:pt idx="1669">
                  <c:v>1294.18</c:v>
                </c:pt>
                <c:pt idx="1670">
                  <c:v>1286.06</c:v>
                </c:pt>
                <c:pt idx="1671">
                  <c:v>1287.6099999999999</c:v>
                </c:pt>
                <c:pt idx="1672">
                  <c:v>1287.6099999999999</c:v>
                </c:pt>
                <c:pt idx="1673">
                  <c:v>1282.93</c:v>
                </c:pt>
                <c:pt idx="1674">
                  <c:v>1277.93</c:v>
                </c:pt>
                <c:pt idx="1675">
                  <c:v>1285.04</c:v>
                </c:pt>
                <c:pt idx="1676">
                  <c:v>1261.49</c:v>
                </c:pt>
                <c:pt idx="1677">
                  <c:v>1263.82</c:v>
                </c:pt>
                <c:pt idx="1678">
                  <c:v>1266.8599999999999</c:v>
                </c:pt>
                <c:pt idx="1679">
                  <c:v>1264.68</c:v>
                </c:pt>
                <c:pt idx="1680">
                  <c:v>1273.83</c:v>
                </c:pt>
                <c:pt idx="1681">
                  <c:v>1283.72</c:v>
                </c:pt>
                <c:pt idx="1682">
                  <c:v>1285.2</c:v>
                </c:pt>
                <c:pt idx="1683">
                  <c:v>1280.08</c:v>
                </c:pt>
                <c:pt idx="1684">
                  <c:v>1282.46</c:v>
                </c:pt>
                <c:pt idx="1685">
                  <c:v>1270.8399999999999</c:v>
                </c:pt>
                <c:pt idx="1686">
                  <c:v>1264.03</c:v>
                </c:pt>
                <c:pt idx="1687">
                  <c:v>1265.02</c:v>
                </c:pt>
                <c:pt idx="1688">
                  <c:v>1254.78</c:v>
                </c:pt>
                <c:pt idx="1689">
                  <c:v>1265.6500000000001</c:v>
                </c:pt>
                <c:pt idx="1690">
                  <c:v>1263.77</c:v>
                </c:pt>
                <c:pt idx="1691">
                  <c:v>1266.99</c:v>
                </c:pt>
                <c:pt idx="1692">
                  <c:v>1262.8599999999999</c:v>
                </c:pt>
                <c:pt idx="1693">
                  <c:v>1275.53</c:v>
                </c:pt>
                <c:pt idx="1694">
                  <c:v>1280</c:v>
                </c:pt>
                <c:pt idx="1695">
                  <c:v>1289.3800000000001</c:v>
                </c:pt>
                <c:pt idx="1696">
                  <c:v>1287.24</c:v>
                </c:pt>
                <c:pt idx="1697">
                  <c:v>1287.24</c:v>
                </c:pt>
                <c:pt idx="1698">
                  <c:v>1283.03</c:v>
                </c:pt>
                <c:pt idx="1699">
                  <c:v>1292.67</c:v>
                </c:pt>
                <c:pt idx="1700">
                  <c:v>1287.79</c:v>
                </c:pt>
                <c:pt idx="1701">
                  <c:v>1289.43</c:v>
                </c:pt>
                <c:pt idx="1702">
                  <c:v>1294.1199999999999</c:v>
                </c:pt>
                <c:pt idx="1703">
                  <c:v>1280.6600000000001</c:v>
                </c:pt>
                <c:pt idx="1704">
                  <c:v>1291.24</c:v>
                </c:pt>
                <c:pt idx="1705">
                  <c:v>1289.1400000000001</c:v>
                </c:pt>
                <c:pt idx="1706">
                  <c:v>1287.23</c:v>
                </c:pt>
                <c:pt idx="1707">
                  <c:v>1278.26</c:v>
                </c:pt>
                <c:pt idx="1708">
                  <c:v>1275.8800000000001</c:v>
                </c:pt>
                <c:pt idx="1709">
                  <c:v>1278.47</c:v>
                </c:pt>
                <c:pt idx="1710">
                  <c:v>1272.23</c:v>
                </c:pt>
                <c:pt idx="1711">
                  <c:v>1281.58</c:v>
                </c:pt>
                <c:pt idx="1712">
                  <c:v>1284.1300000000001</c:v>
                </c:pt>
                <c:pt idx="1713">
                  <c:v>1297.48</c:v>
                </c:pt>
                <c:pt idx="1714">
                  <c:v>1303.02</c:v>
                </c:pt>
                <c:pt idx="1715">
                  <c:v>1305.33</c:v>
                </c:pt>
                <c:pt idx="1716">
                  <c:v>1307.25</c:v>
                </c:pt>
                <c:pt idx="1717">
                  <c:v>1305.08</c:v>
                </c:pt>
                <c:pt idx="1718">
                  <c:v>1297.23</c:v>
                </c:pt>
                <c:pt idx="1719">
                  <c:v>1305.04</c:v>
                </c:pt>
                <c:pt idx="1720">
                  <c:v>1301.67</c:v>
                </c:pt>
                <c:pt idx="1721">
                  <c:v>1302.95</c:v>
                </c:pt>
                <c:pt idx="1722">
                  <c:v>1301.5999999999999</c:v>
                </c:pt>
                <c:pt idx="1723">
                  <c:v>1293.23</c:v>
                </c:pt>
                <c:pt idx="1724">
                  <c:v>1302.8900000000001</c:v>
                </c:pt>
                <c:pt idx="1725">
                  <c:v>1300.25</c:v>
                </c:pt>
                <c:pt idx="1726">
                  <c:v>1294.83</c:v>
                </c:pt>
                <c:pt idx="1727">
                  <c:v>1297.81</c:v>
                </c:pt>
                <c:pt idx="1728">
                  <c:v>1305.93</c:v>
                </c:pt>
                <c:pt idx="1729">
                  <c:v>1311.56</c:v>
                </c:pt>
                <c:pt idx="1730">
                  <c:v>1309.04</c:v>
                </c:pt>
                <c:pt idx="1731">
                  <c:v>1295.5</c:v>
                </c:pt>
                <c:pt idx="1732">
                  <c:v>1296.5999999999999</c:v>
                </c:pt>
                <c:pt idx="1733">
                  <c:v>1286.57</c:v>
                </c:pt>
                <c:pt idx="1734">
                  <c:v>1288.1199999999999</c:v>
                </c:pt>
                <c:pt idx="1735">
                  <c:v>1289.1199999999999</c:v>
                </c:pt>
                <c:pt idx="1736">
                  <c:v>1289.1199999999999</c:v>
                </c:pt>
                <c:pt idx="1737">
                  <c:v>1285.33</c:v>
                </c:pt>
                <c:pt idx="1738">
                  <c:v>1307.6500000000001</c:v>
                </c:pt>
                <c:pt idx="1739">
                  <c:v>1309.93</c:v>
                </c:pt>
                <c:pt idx="1740">
                  <c:v>1311.46</c:v>
                </c:pt>
                <c:pt idx="1741">
                  <c:v>1311.28</c:v>
                </c:pt>
                <c:pt idx="1742">
                  <c:v>1308.1099999999999</c:v>
                </c:pt>
                <c:pt idx="1743">
                  <c:v>1301.74</c:v>
                </c:pt>
                <c:pt idx="1744">
                  <c:v>1305.4100000000001</c:v>
                </c:pt>
                <c:pt idx="1745">
                  <c:v>1309.72</c:v>
                </c:pt>
                <c:pt idx="1746">
                  <c:v>1310.6099999999999</c:v>
                </c:pt>
                <c:pt idx="1747">
                  <c:v>1305.19</c:v>
                </c:pt>
                <c:pt idx="1748">
                  <c:v>1313.21</c:v>
                </c:pt>
                <c:pt idx="1749">
                  <c:v>1307.8499999999999</c:v>
                </c:pt>
                <c:pt idx="1750">
                  <c:v>1312.25</c:v>
                </c:pt>
                <c:pt idx="1751">
                  <c:v>1325.76</c:v>
                </c:pt>
                <c:pt idx="1752">
                  <c:v>1324.66</c:v>
                </c:pt>
                <c:pt idx="1753">
                  <c:v>1325.14</c:v>
                </c:pt>
                <c:pt idx="1754">
                  <c:v>1322.85</c:v>
                </c:pt>
                <c:pt idx="1755">
                  <c:v>1305.92</c:v>
                </c:pt>
                <c:pt idx="1756">
                  <c:v>1291.24</c:v>
                </c:pt>
                <c:pt idx="1757">
                  <c:v>1294.5</c:v>
                </c:pt>
                <c:pt idx="1758">
                  <c:v>1292.08</c:v>
                </c:pt>
                <c:pt idx="1759">
                  <c:v>1270.32</c:v>
                </c:pt>
                <c:pt idx="1760">
                  <c:v>1261.81</c:v>
                </c:pt>
                <c:pt idx="1761">
                  <c:v>1267.03</c:v>
                </c:pt>
                <c:pt idx="1762">
                  <c:v>1262.07</c:v>
                </c:pt>
                <c:pt idx="1763">
                  <c:v>1256.58</c:v>
                </c:pt>
                <c:pt idx="1764">
                  <c:v>1258.57</c:v>
                </c:pt>
                <c:pt idx="1765">
                  <c:v>1272.8800000000001</c:v>
                </c:pt>
                <c:pt idx="1766">
                  <c:v>1280.1600000000001</c:v>
                </c:pt>
                <c:pt idx="1767">
                  <c:v>1280.1600000000001</c:v>
                </c:pt>
                <c:pt idx="1768">
                  <c:v>1259.8399999999999</c:v>
                </c:pt>
                <c:pt idx="1769">
                  <c:v>1270.0899999999999</c:v>
                </c:pt>
                <c:pt idx="1770">
                  <c:v>1285.71</c:v>
                </c:pt>
                <c:pt idx="1771">
                  <c:v>1288.22</c:v>
                </c:pt>
                <c:pt idx="1772">
                  <c:v>1265.29</c:v>
                </c:pt>
                <c:pt idx="1773">
                  <c:v>1263.8499999999999</c:v>
                </c:pt>
                <c:pt idx="1774">
                  <c:v>1256.1500000000001</c:v>
                </c:pt>
                <c:pt idx="1775">
                  <c:v>1257.93</c:v>
                </c:pt>
                <c:pt idx="1776">
                  <c:v>1252.3</c:v>
                </c:pt>
                <c:pt idx="1777">
                  <c:v>1236.4000000000001</c:v>
                </c:pt>
                <c:pt idx="1778">
                  <c:v>1223.69</c:v>
                </c:pt>
                <c:pt idx="1779">
                  <c:v>1230.04</c:v>
                </c:pt>
                <c:pt idx="1780">
                  <c:v>1256.1600000000001</c:v>
                </c:pt>
                <c:pt idx="1781">
                  <c:v>1251.54</c:v>
                </c:pt>
                <c:pt idx="1782">
                  <c:v>1240.1400000000001</c:v>
                </c:pt>
                <c:pt idx="1783">
                  <c:v>1240.1199999999999</c:v>
                </c:pt>
                <c:pt idx="1784">
                  <c:v>1252.2</c:v>
                </c:pt>
                <c:pt idx="1785">
                  <c:v>1245.5999999999999</c:v>
                </c:pt>
                <c:pt idx="1786">
                  <c:v>1244.5</c:v>
                </c:pt>
                <c:pt idx="1787">
                  <c:v>1250.56</c:v>
                </c:pt>
                <c:pt idx="1788">
                  <c:v>1239.2</c:v>
                </c:pt>
                <c:pt idx="1789">
                  <c:v>1246</c:v>
                </c:pt>
                <c:pt idx="1790">
                  <c:v>1272.8699999999999</c:v>
                </c:pt>
                <c:pt idx="1791">
                  <c:v>1270.2</c:v>
                </c:pt>
                <c:pt idx="1792">
                  <c:v>1280.19</c:v>
                </c:pt>
                <c:pt idx="1793">
                  <c:v>1280.19</c:v>
                </c:pt>
                <c:pt idx="1794">
                  <c:v>1270.9100000000001</c:v>
                </c:pt>
                <c:pt idx="1795">
                  <c:v>1274.08</c:v>
                </c:pt>
                <c:pt idx="1796">
                  <c:v>1265.48</c:v>
                </c:pt>
                <c:pt idx="1797">
                  <c:v>1267.3399999999999</c:v>
                </c:pt>
                <c:pt idx="1798">
                  <c:v>1272.52</c:v>
                </c:pt>
                <c:pt idx="1799">
                  <c:v>1258.5999999999999</c:v>
                </c:pt>
                <c:pt idx="1800">
                  <c:v>1242.29</c:v>
                </c:pt>
                <c:pt idx="1801">
                  <c:v>1236.2</c:v>
                </c:pt>
                <c:pt idx="1802">
                  <c:v>1234.49</c:v>
                </c:pt>
                <c:pt idx="1803">
                  <c:v>1236.8599999999999</c:v>
                </c:pt>
                <c:pt idx="1804">
                  <c:v>1259.81</c:v>
                </c:pt>
                <c:pt idx="1805">
                  <c:v>1249.1300000000001</c:v>
                </c:pt>
                <c:pt idx="1806">
                  <c:v>1240.29</c:v>
                </c:pt>
                <c:pt idx="1807">
                  <c:v>1260.9100000000001</c:v>
                </c:pt>
                <c:pt idx="1808">
                  <c:v>1268.8800000000001</c:v>
                </c:pt>
                <c:pt idx="1809">
                  <c:v>1268.4000000000001</c:v>
                </c:pt>
                <c:pt idx="1810">
                  <c:v>1263.2</c:v>
                </c:pt>
                <c:pt idx="1811">
                  <c:v>1278.55</c:v>
                </c:pt>
                <c:pt idx="1812">
                  <c:v>1276.6600000000001</c:v>
                </c:pt>
                <c:pt idx="1813">
                  <c:v>1270.92</c:v>
                </c:pt>
                <c:pt idx="1814">
                  <c:v>1278.55</c:v>
                </c:pt>
                <c:pt idx="1815">
                  <c:v>1280.27</c:v>
                </c:pt>
                <c:pt idx="1816">
                  <c:v>1279.3599999999999</c:v>
                </c:pt>
                <c:pt idx="1817">
                  <c:v>1275.77</c:v>
                </c:pt>
                <c:pt idx="1818">
                  <c:v>1271.48</c:v>
                </c:pt>
                <c:pt idx="1819">
                  <c:v>1265.95</c:v>
                </c:pt>
                <c:pt idx="1820">
                  <c:v>1271.81</c:v>
                </c:pt>
                <c:pt idx="1821">
                  <c:v>1266.74</c:v>
                </c:pt>
                <c:pt idx="1822">
                  <c:v>1268.21</c:v>
                </c:pt>
                <c:pt idx="1823">
                  <c:v>1285.58</c:v>
                </c:pt>
                <c:pt idx="1824">
                  <c:v>1295.43</c:v>
                </c:pt>
                <c:pt idx="1825">
                  <c:v>1297.48</c:v>
                </c:pt>
                <c:pt idx="1826">
                  <c:v>1302.3</c:v>
                </c:pt>
                <c:pt idx="1827">
                  <c:v>1297.52</c:v>
                </c:pt>
                <c:pt idx="1828">
                  <c:v>1298.82</c:v>
                </c:pt>
                <c:pt idx="1829">
                  <c:v>1292.99</c:v>
                </c:pt>
                <c:pt idx="1830">
                  <c:v>1296.06</c:v>
                </c:pt>
                <c:pt idx="1831">
                  <c:v>1295.0899999999999</c:v>
                </c:pt>
                <c:pt idx="1832">
                  <c:v>1301.78</c:v>
                </c:pt>
                <c:pt idx="1833">
                  <c:v>1304.28</c:v>
                </c:pt>
                <c:pt idx="1834">
                  <c:v>1304.27</c:v>
                </c:pt>
                <c:pt idx="1835">
                  <c:v>1303.82</c:v>
                </c:pt>
                <c:pt idx="1836">
                  <c:v>1311.01</c:v>
                </c:pt>
                <c:pt idx="1837">
                  <c:v>1311.01</c:v>
                </c:pt>
                <c:pt idx="1838">
                  <c:v>1313.25</c:v>
                </c:pt>
                <c:pt idx="1839">
                  <c:v>1300.26</c:v>
                </c:pt>
                <c:pt idx="1840">
                  <c:v>1294.02</c:v>
                </c:pt>
                <c:pt idx="1841">
                  <c:v>1298.92</c:v>
                </c:pt>
                <c:pt idx="1842">
                  <c:v>1299.54</c:v>
                </c:pt>
                <c:pt idx="1843">
                  <c:v>1313.11</c:v>
                </c:pt>
                <c:pt idx="1844">
                  <c:v>1318.07</c:v>
                </c:pt>
                <c:pt idx="1845">
                  <c:v>1316.28</c:v>
                </c:pt>
                <c:pt idx="1846">
                  <c:v>1319.87</c:v>
                </c:pt>
                <c:pt idx="1847">
                  <c:v>1321.18</c:v>
                </c:pt>
                <c:pt idx="1848">
                  <c:v>1318.31</c:v>
                </c:pt>
                <c:pt idx="1849">
                  <c:v>1325.18</c:v>
                </c:pt>
                <c:pt idx="1850">
                  <c:v>1318.03</c:v>
                </c:pt>
                <c:pt idx="1851">
                  <c:v>1314.78</c:v>
                </c:pt>
                <c:pt idx="1852">
                  <c:v>1326.37</c:v>
                </c:pt>
                <c:pt idx="1853">
                  <c:v>1336.34</c:v>
                </c:pt>
                <c:pt idx="1854">
                  <c:v>1336.59</c:v>
                </c:pt>
                <c:pt idx="1855">
                  <c:v>1339.15</c:v>
                </c:pt>
                <c:pt idx="1856">
                  <c:v>1335.85</c:v>
                </c:pt>
                <c:pt idx="1857">
                  <c:v>1331.32</c:v>
                </c:pt>
                <c:pt idx="1858">
                  <c:v>1334.11</c:v>
                </c:pt>
                <c:pt idx="1859">
                  <c:v>1350.22</c:v>
                </c:pt>
                <c:pt idx="1860">
                  <c:v>1353.22</c:v>
                </c:pt>
                <c:pt idx="1861">
                  <c:v>1349.58</c:v>
                </c:pt>
                <c:pt idx="1862">
                  <c:v>1350.66</c:v>
                </c:pt>
                <c:pt idx="1863">
                  <c:v>1353.42</c:v>
                </c:pt>
                <c:pt idx="1864">
                  <c:v>1349.95</c:v>
                </c:pt>
                <c:pt idx="1865">
                  <c:v>1362.83</c:v>
                </c:pt>
                <c:pt idx="1866">
                  <c:v>1365.62</c:v>
                </c:pt>
                <c:pt idx="1867">
                  <c:v>1369.05</c:v>
                </c:pt>
                <c:pt idx="1868">
                  <c:v>1364.05</c:v>
                </c:pt>
                <c:pt idx="1869">
                  <c:v>1365.96</c:v>
                </c:pt>
                <c:pt idx="1870">
                  <c:v>1366.96</c:v>
                </c:pt>
                <c:pt idx="1871">
                  <c:v>1368.6</c:v>
                </c:pt>
                <c:pt idx="1872">
                  <c:v>1377.02</c:v>
                </c:pt>
                <c:pt idx="1873">
                  <c:v>1377.38</c:v>
                </c:pt>
                <c:pt idx="1874">
                  <c:v>1382.22</c:v>
                </c:pt>
                <c:pt idx="1875">
                  <c:v>1389.08</c:v>
                </c:pt>
                <c:pt idx="1876">
                  <c:v>1377.34</c:v>
                </c:pt>
                <c:pt idx="1877">
                  <c:v>1377.93</c:v>
                </c:pt>
                <c:pt idx="1878">
                  <c:v>1377.94</c:v>
                </c:pt>
                <c:pt idx="1879">
                  <c:v>1367.81</c:v>
                </c:pt>
                <c:pt idx="1880">
                  <c:v>1367.34</c:v>
                </c:pt>
                <c:pt idx="1881">
                  <c:v>1364.3</c:v>
                </c:pt>
                <c:pt idx="1882">
                  <c:v>1379.78</c:v>
                </c:pt>
                <c:pt idx="1883">
                  <c:v>1382.84</c:v>
                </c:pt>
                <c:pt idx="1884">
                  <c:v>1385.72</c:v>
                </c:pt>
                <c:pt idx="1885">
                  <c:v>1378.33</c:v>
                </c:pt>
                <c:pt idx="1886">
                  <c:v>1380.9</c:v>
                </c:pt>
                <c:pt idx="1887">
                  <c:v>1384.42</c:v>
                </c:pt>
                <c:pt idx="1888">
                  <c:v>1393.22</c:v>
                </c:pt>
                <c:pt idx="1889">
                  <c:v>1396.57</c:v>
                </c:pt>
                <c:pt idx="1890">
                  <c:v>1399.76</c:v>
                </c:pt>
                <c:pt idx="1891">
                  <c:v>1401.2</c:v>
                </c:pt>
                <c:pt idx="1892">
                  <c:v>1400.5</c:v>
                </c:pt>
                <c:pt idx="1893">
                  <c:v>1402.81</c:v>
                </c:pt>
                <c:pt idx="1894">
                  <c:v>1406.09</c:v>
                </c:pt>
                <c:pt idx="1895">
                  <c:v>1406.09</c:v>
                </c:pt>
                <c:pt idx="1896">
                  <c:v>1400.95</c:v>
                </c:pt>
                <c:pt idx="1897">
                  <c:v>1381.9</c:v>
                </c:pt>
                <c:pt idx="1898">
                  <c:v>1386.72</c:v>
                </c:pt>
                <c:pt idx="1899">
                  <c:v>1399.48</c:v>
                </c:pt>
                <c:pt idx="1900">
                  <c:v>1400.63</c:v>
                </c:pt>
                <c:pt idx="1901">
                  <c:v>1396.71</c:v>
                </c:pt>
                <c:pt idx="1902">
                  <c:v>1409.12</c:v>
                </c:pt>
                <c:pt idx="1903">
                  <c:v>1414.76</c:v>
                </c:pt>
                <c:pt idx="1904">
                  <c:v>1412.9</c:v>
                </c:pt>
                <c:pt idx="1905">
                  <c:v>1407.29</c:v>
                </c:pt>
                <c:pt idx="1906">
                  <c:v>1409.84</c:v>
                </c:pt>
                <c:pt idx="1907">
                  <c:v>1413.04</c:v>
                </c:pt>
                <c:pt idx="1908">
                  <c:v>1411.56</c:v>
                </c:pt>
                <c:pt idx="1909">
                  <c:v>1413.21</c:v>
                </c:pt>
                <c:pt idx="1910">
                  <c:v>1425.49</c:v>
                </c:pt>
                <c:pt idx="1911">
                  <c:v>1427.09</c:v>
                </c:pt>
                <c:pt idx="1912">
                  <c:v>1422.48</c:v>
                </c:pt>
                <c:pt idx="1913">
                  <c:v>1425.55</c:v>
                </c:pt>
                <c:pt idx="1914">
                  <c:v>1423.53</c:v>
                </c:pt>
                <c:pt idx="1915">
                  <c:v>1418.3</c:v>
                </c:pt>
                <c:pt idx="1916">
                  <c:v>1410.76</c:v>
                </c:pt>
                <c:pt idx="1917">
                  <c:v>1410.76</c:v>
                </c:pt>
                <c:pt idx="1918">
                  <c:v>1416.9</c:v>
                </c:pt>
                <c:pt idx="1919">
                  <c:v>1426.84</c:v>
                </c:pt>
                <c:pt idx="1920">
                  <c:v>1424.73</c:v>
                </c:pt>
                <c:pt idx="1921">
                  <c:v>1418.3</c:v>
                </c:pt>
                <c:pt idx="1922">
                  <c:v>1418.3</c:v>
                </c:pt>
                <c:pt idx="1923">
                  <c:v>1418.3</c:v>
                </c:pt>
                <c:pt idx="1924">
                  <c:v>1416.6</c:v>
                </c:pt>
                <c:pt idx="1925">
                  <c:v>1418.34</c:v>
                </c:pt>
                <c:pt idx="1926">
                  <c:v>1409.71</c:v>
                </c:pt>
                <c:pt idx="1927">
                  <c:v>1412.84</c:v>
                </c:pt>
                <c:pt idx="1928">
                  <c:v>1412.11</c:v>
                </c:pt>
                <c:pt idx="1929">
                  <c:v>1414.85</c:v>
                </c:pt>
                <c:pt idx="1930">
                  <c:v>1423.82</c:v>
                </c:pt>
                <c:pt idx="1931">
                  <c:v>1430.73</c:v>
                </c:pt>
                <c:pt idx="1932">
                  <c:v>1430.73</c:v>
                </c:pt>
                <c:pt idx="1933">
                  <c:v>1431.9</c:v>
                </c:pt>
                <c:pt idx="1934">
                  <c:v>1430.62</c:v>
                </c:pt>
                <c:pt idx="1935">
                  <c:v>1426.37</c:v>
                </c:pt>
                <c:pt idx="1936">
                  <c:v>1430.5</c:v>
                </c:pt>
                <c:pt idx="1937">
                  <c:v>1422.95</c:v>
                </c:pt>
                <c:pt idx="1938">
                  <c:v>1427.99</c:v>
                </c:pt>
                <c:pt idx="1939">
                  <c:v>1440.13</c:v>
                </c:pt>
                <c:pt idx="1940">
                  <c:v>1423.9</c:v>
                </c:pt>
                <c:pt idx="1941">
                  <c:v>1422.18</c:v>
                </c:pt>
                <c:pt idx="1942">
                  <c:v>1420.62</c:v>
                </c:pt>
                <c:pt idx="1943">
                  <c:v>1428.82</c:v>
                </c:pt>
                <c:pt idx="1944">
                  <c:v>1438.24</c:v>
                </c:pt>
                <c:pt idx="1945">
                  <c:v>1445.94</c:v>
                </c:pt>
                <c:pt idx="1946">
                  <c:v>1448.39</c:v>
                </c:pt>
                <c:pt idx="1947">
                  <c:v>1446.99</c:v>
                </c:pt>
                <c:pt idx="1948">
                  <c:v>1448</c:v>
                </c:pt>
                <c:pt idx="1949">
                  <c:v>1450.02</c:v>
                </c:pt>
                <c:pt idx="1950">
                  <c:v>1448.31</c:v>
                </c:pt>
                <c:pt idx="1951">
                  <c:v>1438.06</c:v>
                </c:pt>
                <c:pt idx="1952">
                  <c:v>1433.37</c:v>
                </c:pt>
                <c:pt idx="1953">
                  <c:v>1444.26</c:v>
                </c:pt>
                <c:pt idx="1954">
                  <c:v>1455.3</c:v>
                </c:pt>
                <c:pt idx="1955">
                  <c:v>1456.81</c:v>
                </c:pt>
                <c:pt idx="1956">
                  <c:v>1455.54</c:v>
                </c:pt>
                <c:pt idx="1957">
                  <c:v>1455.54</c:v>
                </c:pt>
                <c:pt idx="1958">
                  <c:v>1459.68</c:v>
                </c:pt>
                <c:pt idx="1959">
                  <c:v>1457.63</c:v>
                </c:pt>
                <c:pt idx="1960">
                  <c:v>1456.38</c:v>
                </c:pt>
                <c:pt idx="1961">
                  <c:v>1451.19</c:v>
                </c:pt>
                <c:pt idx="1962">
                  <c:v>1449.37</c:v>
                </c:pt>
                <c:pt idx="1963">
                  <c:v>1399.04</c:v>
                </c:pt>
                <c:pt idx="1964">
                  <c:v>1406.82</c:v>
                </c:pt>
                <c:pt idx="1965">
                  <c:v>1403.17</c:v>
                </c:pt>
                <c:pt idx="1966">
                  <c:v>1387.17</c:v>
                </c:pt>
                <c:pt idx="1967">
                  <c:v>1374.12</c:v>
                </c:pt>
                <c:pt idx="1968">
                  <c:v>1395.41</c:v>
                </c:pt>
                <c:pt idx="1969">
                  <c:v>1391.97</c:v>
                </c:pt>
                <c:pt idx="1970">
                  <c:v>1401.89</c:v>
                </c:pt>
                <c:pt idx="1971">
                  <c:v>1402.85</c:v>
                </c:pt>
                <c:pt idx="1972">
                  <c:v>1406.6</c:v>
                </c:pt>
                <c:pt idx="1973">
                  <c:v>1377.95</c:v>
                </c:pt>
                <c:pt idx="1974">
                  <c:v>1387.17</c:v>
                </c:pt>
                <c:pt idx="1975">
                  <c:v>1392.28</c:v>
                </c:pt>
                <c:pt idx="1976">
                  <c:v>1386.95</c:v>
                </c:pt>
                <c:pt idx="1977">
                  <c:v>1402.06</c:v>
                </c:pt>
                <c:pt idx="1978">
                  <c:v>1410.94</c:v>
                </c:pt>
                <c:pt idx="1979">
                  <c:v>1435.04</c:v>
                </c:pt>
                <c:pt idx="1980">
                  <c:v>1434.54</c:v>
                </c:pt>
                <c:pt idx="1981">
                  <c:v>1436.11</c:v>
                </c:pt>
                <c:pt idx="1982">
                  <c:v>1437.5</c:v>
                </c:pt>
                <c:pt idx="1983">
                  <c:v>1428.61</c:v>
                </c:pt>
                <c:pt idx="1984">
                  <c:v>1417.23</c:v>
                </c:pt>
                <c:pt idx="1985">
                  <c:v>1422.53</c:v>
                </c:pt>
                <c:pt idx="1986">
                  <c:v>1420.86</c:v>
                </c:pt>
                <c:pt idx="1987">
                  <c:v>1424.55</c:v>
                </c:pt>
                <c:pt idx="1988">
                  <c:v>1437.77</c:v>
                </c:pt>
                <c:pt idx="1989">
                  <c:v>1439.37</c:v>
                </c:pt>
                <c:pt idx="1990">
                  <c:v>1443.76</c:v>
                </c:pt>
                <c:pt idx="1991">
                  <c:v>1443.76</c:v>
                </c:pt>
                <c:pt idx="1992">
                  <c:v>1444.61</c:v>
                </c:pt>
                <c:pt idx="1993">
                  <c:v>1448.39</c:v>
                </c:pt>
                <c:pt idx="1994">
                  <c:v>1438.87</c:v>
                </c:pt>
                <c:pt idx="1995">
                  <c:v>1447.8</c:v>
                </c:pt>
                <c:pt idx="1996">
                  <c:v>1452.85</c:v>
                </c:pt>
                <c:pt idx="1997">
                  <c:v>1468.47</c:v>
                </c:pt>
                <c:pt idx="1998">
                  <c:v>1471.48</c:v>
                </c:pt>
                <c:pt idx="1999">
                  <c:v>1472.5</c:v>
                </c:pt>
                <c:pt idx="2000">
                  <c:v>1470.73</c:v>
                </c:pt>
                <c:pt idx="2001">
                  <c:v>1484.35</c:v>
                </c:pt>
                <c:pt idx="2002">
                  <c:v>1480.93</c:v>
                </c:pt>
                <c:pt idx="2003">
                  <c:v>1480.41</c:v>
                </c:pt>
                <c:pt idx="2004">
                  <c:v>1495.42</c:v>
                </c:pt>
                <c:pt idx="2005">
                  <c:v>1494.25</c:v>
                </c:pt>
                <c:pt idx="2006">
                  <c:v>1494.07</c:v>
                </c:pt>
                <c:pt idx="2007">
                  <c:v>1482.37</c:v>
                </c:pt>
                <c:pt idx="2008">
                  <c:v>1486.3</c:v>
                </c:pt>
                <c:pt idx="2009">
                  <c:v>1495.92</c:v>
                </c:pt>
                <c:pt idx="2010">
                  <c:v>1502.39</c:v>
                </c:pt>
                <c:pt idx="2011">
                  <c:v>1505.62</c:v>
                </c:pt>
                <c:pt idx="2012">
                  <c:v>1509.48</c:v>
                </c:pt>
                <c:pt idx="2013">
                  <c:v>1507.72</c:v>
                </c:pt>
                <c:pt idx="2014">
                  <c:v>1512.58</c:v>
                </c:pt>
                <c:pt idx="2015">
                  <c:v>1491.47</c:v>
                </c:pt>
                <c:pt idx="2016">
                  <c:v>1505.85</c:v>
                </c:pt>
                <c:pt idx="2017">
                  <c:v>1503.15</c:v>
                </c:pt>
                <c:pt idx="2018">
                  <c:v>1501.19</c:v>
                </c:pt>
                <c:pt idx="2019">
                  <c:v>1514.14</c:v>
                </c:pt>
                <c:pt idx="2020">
                  <c:v>1512.75</c:v>
                </c:pt>
                <c:pt idx="2021">
                  <c:v>1522.75</c:v>
                </c:pt>
                <c:pt idx="2022">
                  <c:v>1525.1</c:v>
                </c:pt>
                <c:pt idx="2023">
                  <c:v>1524.12</c:v>
                </c:pt>
                <c:pt idx="2024">
                  <c:v>1522.28</c:v>
                </c:pt>
                <c:pt idx="2025">
                  <c:v>1507.51</c:v>
                </c:pt>
                <c:pt idx="2026">
                  <c:v>1515.73</c:v>
                </c:pt>
                <c:pt idx="2027">
                  <c:v>1515.73</c:v>
                </c:pt>
                <c:pt idx="2028">
                  <c:v>1518.11</c:v>
                </c:pt>
                <c:pt idx="2029">
                  <c:v>1530.23</c:v>
                </c:pt>
                <c:pt idx="2030">
                  <c:v>1530.62</c:v>
                </c:pt>
                <c:pt idx="2031">
                  <c:v>1536.34</c:v>
                </c:pt>
                <c:pt idx="2032">
                  <c:v>1539.18</c:v>
                </c:pt>
                <c:pt idx="2033">
                  <c:v>1530.95</c:v>
                </c:pt>
                <c:pt idx="2034">
                  <c:v>1517.38</c:v>
                </c:pt>
                <c:pt idx="2035">
                  <c:v>1490.72</c:v>
                </c:pt>
                <c:pt idx="2036">
                  <c:v>1507.67</c:v>
                </c:pt>
                <c:pt idx="2037">
                  <c:v>1509.12</c:v>
                </c:pt>
                <c:pt idx="2038">
                  <c:v>1493</c:v>
                </c:pt>
                <c:pt idx="2039">
                  <c:v>1515.67</c:v>
                </c:pt>
                <c:pt idx="2040">
                  <c:v>1522.97</c:v>
                </c:pt>
                <c:pt idx="2041">
                  <c:v>1532.91</c:v>
                </c:pt>
                <c:pt idx="2042">
                  <c:v>1531.05</c:v>
                </c:pt>
                <c:pt idx="2043">
                  <c:v>1533.7</c:v>
                </c:pt>
                <c:pt idx="2044">
                  <c:v>1512.84</c:v>
                </c:pt>
                <c:pt idx="2045">
                  <c:v>1522.19</c:v>
                </c:pt>
                <c:pt idx="2046">
                  <c:v>1502.56</c:v>
                </c:pt>
                <c:pt idx="2047">
                  <c:v>1497.74</c:v>
                </c:pt>
                <c:pt idx="2048">
                  <c:v>1492.89</c:v>
                </c:pt>
                <c:pt idx="2049">
                  <c:v>1506.34</c:v>
                </c:pt>
                <c:pt idx="2050">
                  <c:v>1505.71</c:v>
                </c:pt>
                <c:pt idx="2051">
                  <c:v>1503.35</c:v>
                </c:pt>
                <c:pt idx="2052">
                  <c:v>1519.43</c:v>
                </c:pt>
                <c:pt idx="2053">
                  <c:v>1524.87</c:v>
                </c:pt>
                <c:pt idx="2054">
                  <c:v>1524.87</c:v>
                </c:pt>
                <c:pt idx="2055">
                  <c:v>1525.4</c:v>
                </c:pt>
                <c:pt idx="2056">
                  <c:v>1530.44</c:v>
                </c:pt>
                <c:pt idx="2057">
                  <c:v>1531.85</c:v>
                </c:pt>
                <c:pt idx="2058">
                  <c:v>1510.12</c:v>
                </c:pt>
                <c:pt idx="2059">
                  <c:v>1518.76</c:v>
                </c:pt>
                <c:pt idx="2060">
                  <c:v>1547.7</c:v>
                </c:pt>
                <c:pt idx="2061">
                  <c:v>1552.5</c:v>
                </c:pt>
                <c:pt idx="2062">
                  <c:v>1549.52</c:v>
                </c:pt>
                <c:pt idx="2063">
                  <c:v>1549.37</c:v>
                </c:pt>
                <c:pt idx="2064">
                  <c:v>1546.17</c:v>
                </c:pt>
                <c:pt idx="2065">
                  <c:v>1553.08</c:v>
                </c:pt>
                <c:pt idx="2066">
                  <c:v>1534.1</c:v>
                </c:pt>
                <c:pt idx="2067">
                  <c:v>1541.57</c:v>
                </c:pt>
                <c:pt idx="2068">
                  <c:v>1511.04</c:v>
                </c:pt>
                <c:pt idx="2069">
                  <c:v>1518.09</c:v>
                </c:pt>
                <c:pt idx="2070">
                  <c:v>1482.66</c:v>
                </c:pt>
                <c:pt idx="2071">
                  <c:v>1458.95</c:v>
                </c:pt>
                <c:pt idx="2072">
                  <c:v>1473.91</c:v>
                </c:pt>
                <c:pt idx="2073">
                  <c:v>1455.27</c:v>
                </c:pt>
                <c:pt idx="2074">
                  <c:v>1465.81</c:v>
                </c:pt>
                <c:pt idx="2075">
                  <c:v>1472.2</c:v>
                </c:pt>
                <c:pt idx="2076">
                  <c:v>1433.06</c:v>
                </c:pt>
                <c:pt idx="2077">
                  <c:v>1467.67</c:v>
                </c:pt>
                <c:pt idx="2078">
                  <c:v>1476.71</c:v>
                </c:pt>
                <c:pt idx="2079">
                  <c:v>1497.49</c:v>
                </c:pt>
                <c:pt idx="2080">
                  <c:v>1453.09</c:v>
                </c:pt>
                <c:pt idx="2081">
                  <c:v>1453.64</c:v>
                </c:pt>
                <c:pt idx="2082">
                  <c:v>1452.92</c:v>
                </c:pt>
                <c:pt idx="2083">
                  <c:v>1426.54</c:v>
                </c:pt>
                <c:pt idx="2084">
                  <c:v>1406.7</c:v>
                </c:pt>
                <c:pt idx="2085">
                  <c:v>1411.27</c:v>
                </c:pt>
                <c:pt idx="2086">
                  <c:v>1445.94</c:v>
                </c:pt>
                <c:pt idx="2087">
                  <c:v>1445.55</c:v>
                </c:pt>
                <c:pt idx="2088">
                  <c:v>1447.12</c:v>
                </c:pt>
                <c:pt idx="2089">
                  <c:v>1464.07</c:v>
                </c:pt>
                <c:pt idx="2090">
                  <c:v>1462.5</c:v>
                </c:pt>
                <c:pt idx="2091">
                  <c:v>1479.37</c:v>
                </c:pt>
                <c:pt idx="2092">
                  <c:v>1466.79</c:v>
                </c:pt>
                <c:pt idx="2093">
                  <c:v>1432.36</c:v>
                </c:pt>
                <c:pt idx="2094">
                  <c:v>1463.76</c:v>
                </c:pt>
                <c:pt idx="2095">
                  <c:v>1457.64</c:v>
                </c:pt>
                <c:pt idx="2096">
                  <c:v>1473.99</c:v>
                </c:pt>
                <c:pt idx="2097">
                  <c:v>1473.99</c:v>
                </c:pt>
                <c:pt idx="2098">
                  <c:v>1489.42</c:v>
                </c:pt>
                <c:pt idx="2099">
                  <c:v>1472.29</c:v>
                </c:pt>
                <c:pt idx="2100">
                  <c:v>1478.55</c:v>
                </c:pt>
                <c:pt idx="2101">
                  <c:v>1453.55</c:v>
                </c:pt>
                <c:pt idx="2102">
                  <c:v>1451.7</c:v>
                </c:pt>
                <c:pt idx="2103">
                  <c:v>1471.49</c:v>
                </c:pt>
                <c:pt idx="2104">
                  <c:v>1471.56</c:v>
                </c:pt>
                <c:pt idx="2105">
                  <c:v>1483.95</c:v>
                </c:pt>
                <c:pt idx="2106">
                  <c:v>1484.25</c:v>
                </c:pt>
                <c:pt idx="2107">
                  <c:v>1476.65</c:v>
                </c:pt>
                <c:pt idx="2108">
                  <c:v>1519.78</c:v>
                </c:pt>
                <c:pt idx="2109">
                  <c:v>1529.03</c:v>
                </c:pt>
                <c:pt idx="2110">
                  <c:v>1518.75</c:v>
                </c:pt>
                <c:pt idx="2111">
                  <c:v>1525.75</c:v>
                </c:pt>
                <c:pt idx="2112">
                  <c:v>1517.73</c:v>
                </c:pt>
                <c:pt idx="2113">
                  <c:v>1517.21</c:v>
                </c:pt>
                <c:pt idx="2114">
                  <c:v>1525.42</c:v>
                </c:pt>
                <c:pt idx="2115">
                  <c:v>1531.38</c:v>
                </c:pt>
                <c:pt idx="2116">
                  <c:v>1526.75</c:v>
                </c:pt>
                <c:pt idx="2117">
                  <c:v>1547.03</c:v>
                </c:pt>
                <c:pt idx="2118">
                  <c:v>1546.63</c:v>
                </c:pt>
                <c:pt idx="2119">
                  <c:v>1539.59</c:v>
                </c:pt>
                <c:pt idx="2120">
                  <c:v>1542.84</c:v>
                </c:pt>
                <c:pt idx="2121">
                  <c:v>1557.59</c:v>
                </c:pt>
                <c:pt idx="2122">
                  <c:v>1552.58</c:v>
                </c:pt>
                <c:pt idx="2123">
                  <c:v>1565.15</c:v>
                </c:pt>
                <c:pt idx="2124">
                  <c:v>1562.47</c:v>
                </c:pt>
                <c:pt idx="2125">
                  <c:v>1554.41</c:v>
                </c:pt>
                <c:pt idx="2126">
                  <c:v>1561.8</c:v>
                </c:pt>
                <c:pt idx="2127">
                  <c:v>1548.71</c:v>
                </c:pt>
                <c:pt idx="2128">
                  <c:v>1538.53</c:v>
                </c:pt>
                <c:pt idx="2129">
                  <c:v>1541.24</c:v>
                </c:pt>
                <c:pt idx="2130">
                  <c:v>1540.08</c:v>
                </c:pt>
                <c:pt idx="2131">
                  <c:v>1500.63</c:v>
                </c:pt>
                <c:pt idx="2132">
                  <c:v>1506.33</c:v>
                </c:pt>
                <c:pt idx="2133">
                  <c:v>1519.59</c:v>
                </c:pt>
                <c:pt idx="2134">
                  <c:v>1515.88</c:v>
                </c:pt>
                <c:pt idx="2135">
                  <c:v>1514.4</c:v>
                </c:pt>
                <c:pt idx="2136">
                  <c:v>1535.28</c:v>
                </c:pt>
                <c:pt idx="2137">
                  <c:v>1540.98</c:v>
                </c:pt>
                <c:pt idx="2138">
                  <c:v>1531.02</c:v>
                </c:pt>
                <c:pt idx="2139">
                  <c:v>1549.38</c:v>
                </c:pt>
                <c:pt idx="2140">
                  <c:v>1508.44</c:v>
                </c:pt>
                <c:pt idx="2141">
                  <c:v>1509.65</c:v>
                </c:pt>
                <c:pt idx="2142">
                  <c:v>1502.17</c:v>
                </c:pt>
                <c:pt idx="2143">
                  <c:v>1520.27</c:v>
                </c:pt>
                <c:pt idx="2144">
                  <c:v>1475.62</c:v>
                </c:pt>
                <c:pt idx="2145">
                  <c:v>1474.77</c:v>
                </c:pt>
                <c:pt idx="2146">
                  <c:v>1453.7</c:v>
                </c:pt>
                <c:pt idx="2147">
                  <c:v>1439.18</c:v>
                </c:pt>
                <c:pt idx="2148">
                  <c:v>1481.05</c:v>
                </c:pt>
                <c:pt idx="2149">
                  <c:v>1470.58</c:v>
                </c:pt>
                <c:pt idx="2150">
                  <c:v>1451.15</c:v>
                </c:pt>
                <c:pt idx="2151">
                  <c:v>1458.74</c:v>
                </c:pt>
                <c:pt idx="2152">
                  <c:v>1433.27</c:v>
                </c:pt>
                <c:pt idx="2153">
                  <c:v>1439.7</c:v>
                </c:pt>
                <c:pt idx="2154">
                  <c:v>1416.77</c:v>
                </c:pt>
                <c:pt idx="2155">
                  <c:v>1416.77</c:v>
                </c:pt>
                <c:pt idx="2156">
                  <c:v>1440.7</c:v>
                </c:pt>
                <c:pt idx="2157">
                  <c:v>1407.22</c:v>
                </c:pt>
                <c:pt idx="2158">
                  <c:v>1428.23</c:v>
                </c:pt>
                <c:pt idx="2159">
                  <c:v>1469.02</c:v>
                </c:pt>
                <c:pt idx="2160">
                  <c:v>1469.72</c:v>
                </c:pt>
                <c:pt idx="2161">
                  <c:v>1481.14</c:v>
                </c:pt>
                <c:pt idx="2162">
                  <c:v>1472.42</c:v>
                </c:pt>
                <c:pt idx="2163">
                  <c:v>1462.79</c:v>
                </c:pt>
                <c:pt idx="2164">
                  <c:v>1485.01</c:v>
                </c:pt>
                <c:pt idx="2165">
                  <c:v>1507.34</c:v>
                </c:pt>
                <c:pt idx="2166">
                  <c:v>1504.66</c:v>
                </c:pt>
                <c:pt idx="2167">
                  <c:v>1515.96</c:v>
                </c:pt>
                <c:pt idx="2168">
                  <c:v>1477.65</c:v>
                </c:pt>
                <c:pt idx="2169">
                  <c:v>1486.59</c:v>
                </c:pt>
                <c:pt idx="2170">
                  <c:v>1488.41</c:v>
                </c:pt>
                <c:pt idx="2171">
                  <c:v>1467.95</c:v>
                </c:pt>
                <c:pt idx="2172">
                  <c:v>1445.9</c:v>
                </c:pt>
                <c:pt idx="2173">
                  <c:v>1454.98</c:v>
                </c:pt>
                <c:pt idx="2174">
                  <c:v>1453</c:v>
                </c:pt>
                <c:pt idx="2175">
                  <c:v>1460.12</c:v>
                </c:pt>
                <c:pt idx="2176">
                  <c:v>1484.46</c:v>
                </c:pt>
                <c:pt idx="2177">
                  <c:v>1496.45</c:v>
                </c:pt>
                <c:pt idx="2178">
                  <c:v>1496.45</c:v>
                </c:pt>
                <c:pt idx="2179">
                  <c:v>1497.66</c:v>
                </c:pt>
                <c:pt idx="2180">
                  <c:v>1476.37</c:v>
                </c:pt>
                <c:pt idx="2181">
                  <c:v>1478.49</c:v>
                </c:pt>
                <c:pt idx="2182">
                  <c:v>1468.35</c:v>
                </c:pt>
                <c:pt idx="2183">
                  <c:v>1468.35</c:v>
                </c:pt>
                <c:pt idx="2184">
                  <c:v>1447.16</c:v>
                </c:pt>
                <c:pt idx="2185">
                  <c:v>1447.16</c:v>
                </c:pt>
                <c:pt idx="2186">
                  <c:v>1411.63</c:v>
                </c:pt>
                <c:pt idx="2187">
                  <c:v>1416.18</c:v>
                </c:pt>
                <c:pt idx="2188">
                  <c:v>1390.19</c:v>
                </c:pt>
                <c:pt idx="2189">
                  <c:v>1409.13</c:v>
                </c:pt>
                <c:pt idx="2190">
                  <c:v>1420.33</c:v>
                </c:pt>
                <c:pt idx="2191">
                  <c:v>1401.02</c:v>
                </c:pt>
                <c:pt idx="2192">
                  <c:v>1416.25</c:v>
                </c:pt>
                <c:pt idx="2193">
                  <c:v>1380.95</c:v>
                </c:pt>
                <c:pt idx="2194">
                  <c:v>1373.2</c:v>
                </c:pt>
                <c:pt idx="2195">
                  <c:v>1333.25</c:v>
                </c:pt>
                <c:pt idx="2196">
                  <c:v>1325.19</c:v>
                </c:pt>
                <c:pt idx="2197">
                  <c:v>1325.19</c:v>
                </c:pt>
                <c:pt idx="2198">
                  <c:v>1310.5</c:v>
                </c:pt>
                <c:pt idx="2199">
                  <c:v>1338.6</c:v>
                </c:pt>
                <c:pt idx="2200">
                  <c:v>1352.07</c:v>
                </c:pt>
                <c:pt idx="2201">
                  <c:v>1330.6</c:v>
                </c:pt>
                <c:pt idx="2202">
                  <c:v>1353.97</c:v>
                </c:pt>
                <c:pt idx="2203">
                  <c:v>1362.3</c:v>
                </c:pt>
                <c:pt idx="2204">
                  <c:v>1355.81</c:v>
                </c:pt>
                <c:pt idx="2205">
                  <c:v>1378.55</c:v>
                </c:pt>
                <c:pt idx="2206">
                  <c:v>1395.42</c:v>
                </c:pt>
                <c:pt idx="2207">
                  <c:v>1380.82</c:v>
                </c:pt>
                <c:pt idx="2208">
                  <c:v>1336.64</c:v>
                </c:pt>
                <c:pt idx="2209">
                  <c:v>1326.45</c:v>
                </c:pt>
                <c:pt idx="2210">
                  <c:v>1336.91</c:v>
                </c:pt>
                <c:pt idx="2211">
                  <c:v>1331.29</c:v>
                </c:pt>
                <c:pt idx="2212">
                  <c:v>1339.13</c:v>
                </c:pt>
                <c:pt idx="2213">
                  <c:v>1348.86</c:v>
                </c:pt>
                <c:pt idx="2214">
                  <c:v>1367.21</c:v>
                </c:pt>
                <c:pt idx="2215">
                  <c:v>1348.86</c:v>
                </c:pt>
                <c:pt idx="2216">
                  <c:v>1349.99</c:v>
                </c:pt>
                <c:pt idx="2217">
                  <c:v>1349.99</c:v>
                </c:pt>
                <c:pt idx="2218">
                  <c:v>1348.78</c:v>
                </c:pt>
                <c:pt idx="2219">
                  <c:v>1360.03</c:v>
                </c:pt>
                <c:pt idx="2220">
                  <c:v>1342.53</c:v>
                </c:pt>
                <c:pt idx="2221">
                  <c:v>1353.11</c:v>
                </c:pt>
                <c:pt idx="2222">
                  <c:v>1371.8</c:v>
                </c:pt>
                <c:pt idx="2223">
                  <c:v>1381.29</c:v>
                </c:pt>
                <c:pt idx="2224">
                  <c:v>1380.02</c:v>
                </c:pt>
                <c:pt idx="2225">
                  <c:v>1367.68</c:v>
                </c:pt>
                <c:pt idx="2226">
                  <c:v>1330.63</c:v>
                </c:pt>
                <c:pt idx="2227">
                  <c:v>1331.34</c:v>
                </c:pt>
                <c:pt idx="2228">
                  <c:v>1326.75</c:v>
                </c:pt>
                <c:pt idx="2229">
                  <c:v>1333.7</c:v>
                </c:pt>
                <c:pt idx="2230">
                  <c:v>1304.3399999999999</c:v>
                </c:pt>
                <c:pt idx="2231">
                  <c:v>1293.3699999999999</c:v>
                </c:pt>
                <c:pt idx="2232">
                  <c:v>1273.3699999999999</c:v>
                </c:pt>
                <c:pt idx="2233">
                  <c:v>1320.65</c:v>
                </c:pt>
                <c:pt idx="2234">
                  <c:v>1308.77</c:v>
                </c:pt>
                <c:pt idx="2235">
                  <c:v>1315.48</c:v>
                </c:pt>
                <c:pt idx="2236">
                  <c:v>1288.1400000000001</c:v>
                </c:pt>
                <c:pt idx="2237">
                  <c:v>1276.5999999999999</c:v>
                </c:pt>
                <c:pt idx="2238">
                  <c:v>1330.74</c:v>
                </c:pt>
                <c:pt idx="2239">
                  <c:v>1298.42</c:v>
                </c:pt>
                <c:pt idx="2240">
                  <c:v>1329.51</c:v>
                </c:pt>
                <c:pt idx="2241">
                  <c:v>1329.51</c:v>
                </c:pt>
                <c:pt idx="2242">
                  <c:v>1349.88</c:v>
                </c:pt>
                <c:pt idx="2243">
                  <c:v>1352.99</c:v>
                </c:pt>
                <c:pt idx="2244">
                  <c:v>1341.13</c:v>
                </c:pt>
                <c:pt idx="2245">
                  <c:v>1325.76</c:v>
                </c:pt>
                <c:pt idx="2246">
                  <c:v>1315.22</c:v>
                </c:pt>
                <c:pt idx="2247">
                  <c:v>1322.7</c:v>
                </c:pt>
                <c:pt idx="2248">
                  <c:v>1370.18</c:v>
                </c:pt>
                <c:pt idx="2249">
                  <c:v>1367.53</c:v>
                </c:pt>
                <c:pt idx="2250">
                  <c:v>1369.31</c:v>
                </c:pt>
                <c:pt idx="2251">
                  <c:v>1370.4</c:v>
                </c:pt>
                <c:pt idx="2252">
                  <c:v>1372.54</c:v>
                </c:pt>
                <c:pt idx="2253">
                  <c:v>1365.54</c:v>
                </c:pt>
                <c:pt idx="2254">
                  <c:v>1354.49</c:v>
                </c:pt>
                <c:pt idx="2255">
                  <c:v>1360.55</c:v>
                </c:pt>
                <c:pt idx="2256">
                  <c:v>1332.83</c:v>
                </c:pt>
                <c:pt idx="2257">
                  <c:v>1328.32</c:v>
                </c:pt>
                <c:pt idx="2258">
                  <c:v>1334.43</c:v>
                </c:pt>
                <c:pt idx="2259">
                  <c:v>1364.71</c:v>
                </c:pt>
                <c:pt idx="2260">
                  <c:v>1365.56</c:v>
                </c:pt>
                <c:pt idx="2261">
                  <c:v>1390.33</c:v>
                </c:pt>
                <c:pt idx="2262">
                  <c:v>1388.17</c:v>
                </c:pt>
                <c:pt idx="2263">
                  <c:v>1375.94</c:v>
                </c:pt>
                <c:pt idx="2264">
                  <c:v>1379.93</c:v>
                </c:pt>
                <c:pt idx="2265">
                  <c:v>1388.82</c:v>
                </c:pt>
                <c:pt idx="2266">
                  <c:v>1397.84</c:v>
                </c:pt>
                <c:pt idx="2267">
                  <c:v>1396.37</c:v>
                </c:pt>
                <c:pt idx="2268">
                  <c:v>1390.94</c:v>
                </c:pt>
                <c:pt idx="2269">
                  <c:v>1385.59</c:v>
                </c:pt>
                <c:pt idx="2270">
                  <c:v>1409.34</c:v>
                </c:pt>
                <c:pt idx="2271">
                  <c:v>1413.9</c:v>
                </c:pt>
                <c:pt idx="2272">
                  <c:v>1407.49</c:v>
                </c:pt>
                <c:pt idx="2273">
                  <c:v>1418.26</c:v>
                </c:pt>
                <c:pt idx="2274">
                  <c:v>1392.57</c:v>
                </c:pt>
                <c:pt idx="2275">
                  <c:v>1397.68</c:v>
                </c:pt>
                <c:pt idx="2276">
                  <c:v>1388.28</c:v>
                </c:pt>
                <c:pt idx="2277">
                  <c:v>1403.58</c:v>
                </c:pt>
                <c:pt idx="2278">
                  <c:v>1403.04</c:v>
                </c:pt>
                <c:pt idx="2279">
                  <c:v>1408.66</c:v>
                </c:pt>
                <c:pt idx="2280">
                  <c:v>1423.57</c:v>
                </c:pt>
                <c:pt idx="2281">
                  <c:v>1425.35</c:v>
                </c:pt>
                <c:pt idx="2282">
                  <c:v>1426.63</c:v>
                </c:pt>
                <c:pt idx="2283">
                  <c:v>1413.4</c:v>
                </c:pt>
                <c:pt idx="2284">
                  <c:v>1390.71</c:v>
                </c:pt>
                <c:pt idx="2285">
                  <c:v>1394.35</c:v>
                </c:pt>
                <c:pt idx="2286">
                  <c:v>1375.93</c:v>
                </c:pt>
                <c:pt idx="2287">
                  <c:v>1375.93</c:v>
                </c:pt>
                <c:pt idx="2288">
                  <c:v>1385.35</c:v>
                </c:pt>
                <c:pt idx="2289">
                  <c:v>1390.84</c:v>
                </c:pt>
                <c:pt idx="2290">
                  <c:v>1398.26</c:v>
                </c:pt>
                <c:pt idx="2291">
                  <c:v>1400.38</c:v>
                </c:pt>
                <c:pt idx="2292">
                  <c:v>1385.67</c:v>
                </c:pt>
                <c:pt idx="2293">
                  <c:v>1377.65</c:v>
                </c:pt>
                <c:pt idx="2294">
                  <c:v>1377.2</c:v>
                </c:pt>
                <c:pt idx="2295">
                  <c:v>1404.05</c:v>
                </c:pt>
                <c:pt idx="2296">
                  <c:v>1360.68</c:v>
                </c:pt>
                <c:pt idx="2297">
                  <c:v>1361.76</c:v>
                </c:pt>
                <c:pt idx="2298">
                  <c:v>1358.44</c:v>
                </c:pt>
                <c:pt idx="2299">
                  <c:v>1335.49</c:v>
                </c:pt>
                <c:pt idx="2300">
                  <c:v>1339.87</c:v>
                </c:pt>
                <c:pt idx="2301">
                  <c:v>1360.03</c:v>
                </c:pt>
                <c:pt idx="2302">
                  <c:v>1360.14</c:v>
                </c:pt>
                <c:pt idx="2303">
                  <c:v>1350.93</c:v>
                </c:pt>
                <c:pt idx="2304">
                  <c:v>1337.81</c:v>
                </c:pt>
                <c:pt idx="2305">
                  <c:v>1342.83</c:v>
                </c:pt>
                <c:pt idx="2306">
                  <c:v>1317.93</c:v>
                </c:pt>
                <c:pt idx="2307">
                  <c:v>1318</c:v>
                </c:pt>
                <c:pt idx="2308">
                  <c:v>1314.29</c:v>
                </c:pt>
                <c:pt idx="2309">
                  <c:v>1321.97</c:v>
                </c:pt>
                <c:pt idx="2310">
                  <c:v>1283.1500000000001</c:v>
                </c:pt>
                <c:pt idx="2311">
                  <c:v>1278.3800000000001</c:v>
                </c:pt>
                <c:pt idx="2312">
                  <c:v>1280</c:v>
                </c:pt>
                <c:pt idx="2313">
                  <c:v>1284.9100000000001</c:v>
                </c:pt>
                <c:pt idx="2314">
                  <c:v>1261.52</c:v>
                </c:pt>
                <c:pt idx="2315">
                  <c:v>1262.9000000000001</c:v>
                </c:pt>
                <c:pt idx="2316">
                  <c:v>1262.9000000000001</c:v>
                </c:pt>
                <c:pt idx="2317">
                  <c:v>1252.31</c:v>
                </c:pt>
                <c:pt idx="2318">
                  <c:v>1273.7</c:v>
                </c:pt>
                <c:pt idx="2319">
                  <c:v>1244.69</c:v>
                </c:pt>
                <c:pt idx="2320">
                  <c:v>1253.3900000000001</c:v>
                </c:pt>
                <c:pt idx="2321">
                  <c:v>1239.49</c:v>
                </c:pt>
                <c:pt idx="2322">
                  <c:v>1228.3</c:v>
                </c:pt>
                <c:pt idx="2323">
                  <c:v>1214.9100000000001</c:v>
                </c:pt>
                <c:pt idx="2324">
                  <c:v>1245.3599999999999</c:v>
                </c:pt>
                <c:pt idx="2325">
                  <c:v>1260.32</c:v>
                </c:pt>
                <c:pt idx="2326">
                  <c:v>1260.68</c:v>
                </c:pt>
                <c:pt idx="2327">
                  <c:v>1260</c:v>
                </c:pt>
                <c:pt idx="2328">
                  <c:v>1277</c:v>
                </c:pt>
                <c:pt idx="2329">
                  <c:v>1282.19</c:v>
                </c:pt>
                <c:pt idx="2330">
                  <c:v>1252.54</c:v>
                </c:pt>
                <c:pt idx="2331">
                  <c:v>1257.76</c:v>
                </c:pt>
                <c:pt idx="2332">
                  <c:v>1234.3699999999999</c:v>
                </c:pt>
                <c:pt idx="2333">
                  <c:v>1263.2</c:v>
                </c:pt>
                <c:pt idx="2334">
                  <c:v>1284.26</c:v>
                </c:pt>
                <c:pt idx="2335">
                  <c:v>1267.3800000000001</c:v>
                </c:pt>
                <c:pt idx="2336">
                  <c:v>1260.31</c:v>
                </c:pt>
                <c:pt idx="2337">
                  <c:v>1249.01</c:v>
                </c:pt>
                <c:pt idx="2338">
                  <c:v>1284.8800000000001</c:v>
                </c:pt>
                <c:pt idx="2339">
                  <c:v>1289.19</c:v>
                </c:pt>
                <c:pt idx="2340">
                  <c:v>1266.07</c:v>
                </c:pt>
                <c:pt idx="2341">
                  <c:v>1296.32</c:v>
                </c:pt>
                <c:pt idx="2342">
                  <c:v>1305.32</c:v>
                </c:pt>
                <c:pt idx="2343">
                  <c:v>1289.5899999999999</c:v>
                </c:pt>
                <c:pt idx="2344">
                  <c:v>1285.83</c:v>
                </c:pt>
                <c:pt idx="2345">
                  <c:v>1292.93</c:v>
                </c:pt>
                <c:pt idx="2346">
                  <c:v>1298.2</c:v>
                </c:pt>
                <c:pt idx="2347">
                  <c:v>1278.5999999999999</c:v>
                </c:pt>
                <c:pt idx="2348">
                  <c:v>1266.69</c:v>
                </c:pt>
                <c:pt idx="2349">
                  <c:v>1274.54</c:v>
                </c:pt>
                <c:pt idx="2350">
                  <c:v>1277.72</c:v>
                </c:pt>
                <c:pt idx="2351">
                  <c:v>1292.2</c:v>
                </c:pt>
                <c:pt idx="2352">
                  <c:v>1266.8399999999999</c:v>
                </c:pt>
                <c:pt idx="2353">
                  <c:v>1271.51</c:v>
                </c:pt>
                <c:pt idx="2354">
                  <c:v>1281.6600000000001</c:v>
                </c:pt>
                <c:pt idx="2355">
                  <c:v>1300.68</c:v>
                </c:pt>
                <c:pt idx="2356">
                  <c:v>1282.83</c:v>
                </c:pt>
                <c:pt idx="2357">
                  <c:v>1282.83</c:v>
                </c:pt>
                <c:pt idx="2358">
                  <c:v>1277.58</c:v>
                </c:pt>
                <c:pt idx="2359">
                  <c:v>1274.98</c:v>
                </c:pt>
                <c:pt idx="2360">
                  <c:v>1236.83</c:v>
                </c:pt>
                <c:pt idx="2361">
                  <c:v>1242.31</c:v>
                </c:pt>
                <c:pt idx="2362">
                  <c:v>1267.79</c:v>
                </c:pt>
                <c:pt idx="2363">
                  <c:v>1224.51</c:v>
                </c:pt>
                <c:pt idx="2364">
                  <c:v>1232.04</c:v>
                </c:pt>
                <c:pt idx="2365">
                  <c:v>1249.05</c:v>
                </c:pt>
                <c:pt idx="2366">
                  <c:v>1251.7</c:v>
                </c:pt>
                <c:pt idx="2367">
                  <c:v>1192.7</c:v>
                </c:pt>
                <c:pt idx="2368">
                  <c:v>1213.5899999999999</c:v>
                </c:pt>
                <c:pt idx="2369">
                  <c:v>1156.3900000000001</c:v>
                </c:pt>
                <c:pt idx="2370">
                  <c:v>1206.51</c:v>
                </c:pt>
                <c:pt idx="2371">
                  <c:v>1255.07</c:v>
                </c:pt>
                <c:pt idx="2372">
                  <c:v>1207.0899999999999</c:v>
                </c:pt>
                <c:pt idx="2373">
                  <c:v>1188.22</c:v>
                </c:pt>
                <c:pt idx="2374">
                  <c:v>1185.8699999999999</c:v>
                </c:pt>
                <c:pt idx="2375">
                  <c:v>1209.18</c:v>
                </c:pt>
                <c:pt idx="2376">
                  <c:v>1213.01</c:v>
                </c:pt>
                <c:pt idx="2377">
                  <c:v>1106.3900000000001</c:v>
                </c:pt>
                <c:pt idx="2378">
                  <c:v>1166.3599999999999</c:v>
                </c:pt>
                <c:pt idx="2379">
                  <c:v>1161.06</c:v>
                </c:pt>
                <c:pt idx="2380">
                  <c:v>1114.28</c:v>
                </c:pt>
                <c:pt idx="2381">
                  <c:v>1099.23</c:v>
                </c:pt>
                <c:pt idx="2382">
                  <c:v>1056.8900000000001</c:v>
                </c:pt>
                <c:pt idx="2383">
                  <c:v>996.23</c:v>
                </c:pt>
                <c:pt idx="2384">
                  <c:v>984.94</c:v>
                </c:pt>
                <c:pt idx="2385">
                  <c:v>909.92</c:v>
                </c:pt>
                <c:pt idx="2386">
                  <c:v>899.22</c:v>
                </c:pt>
                <c:pt idx="2387">
                  <c:v>1003.35</c:v>
                </c:pt>
                <c:pt idx="2388">
                  <c:v>998.01</c:v>
                </c:pt>
                <c:pt idx="2389">
                  <c:v>907.84</c:v>
                </c:pt>
                <c:pt idx="2390">
                  <c:v>946.43</c:v>
                </c:pt>
                <c:pt idx="2391">
                  <c:v>940.55</c:v>
                </c:pt>
                <c:pt idx="2392">
                  <c:v>985.4</c:v>
                </c:pt>
                <c:pt idx="2393">
                  <c:v>955.05</c:v>
                </c:pt>
                <c:pt idx="2394">
                  <c:v>896.78</c:v>
                </c:pt>
                <c:pt idx="2395">
                  <c:v>908.11</c:v>
                </c:pt>
                <c:pt idx="2396">
                  <c:v>876.77</c:v>
                </c:pt>
                <c:pt idx="2397">
                  <c:v>848.92</c:v>
                </c:pt>
                <c:pt idx="2398">
                  <c:v>940.5</c:v>
                </c:pt>
                <c:pt idx="2399">
                  <c:v>930.09</c:v>
                </c:pt>
                <c:pt idx="2400">
                  <c:v>954.09</c:v>
                </c:pt>
                <c:pt idx="2401">
                  <c:v>968.75</c:v>
                </c:pt>
                <c:pt idx="2402">
                  <c:v>966.3</c:v>
                </c:pt>
                <c:pt idx="2403">
                  <c:v>1005.75</c:v>
                </c:pt>
                <c:pt idx="2404">
                  <c:v>952.77</c:v>
                </c:pt>
                <c:pt idx="2405">
                  <c:v>904.88</c:v>
                </c:pt>
                <c:pt idx="2406">
                  <c:v>930.99</c:v>
                </c:pt>
                <c:pt idx="2407">
                  <c:v>919.21</c:v>
                </c:pt>
                <c:pt idx="2408">
                  <c:v>898.95</c:v>
                </c:pt>
                <c:pt idx="2409">
                  <c:v>852.3</c:v>
                </c:pt>
                <c:pt idx="2410">
                  <c:v>911.29</c:v>
                </c:pt>
                <c:pt idx="2411">
                  <c:v>873.29</c:v>
                </c:pt>
                <c:pt idx="2412">
                  <c:v>850.75</c:v>
                </c:pt>
                <c:pt idx="2413">
                  <c:v>859.12</c:v>
                </c:pt>
                <c:pt idx="2414">
                  <c:v>806.58</c:v>
                </c:pt>
                <c:pt idx="2415">
                  <c:v>752.44</c:v>
                </c:pt>
                <c:pt idx="2416">
                  <c:v>800.03</c:v>
                </c:pt>
                <c:pt idx="2417">
                  <c:v>851.81</c:v>
                </c:pt>
                <c:pt idx="2418">
                  <c:v>857.39</c:v>
                </c:pt>
                <c:pt idx="2419">
                  <c:v>887.68</c:v>
                </c:pt>
                <c:pt idx="2420">
                  <c:v>887.68</c:v>
                </c:pt>
                <c:pt idx="2421">
                  <c:v>896.24</c:v>
                </c:pt>
                <c:pt idx="2422">
                  <c:v>816.21</c:v>
                </c:pt>
                <c:pt idx="2423">
                  <c:v>848.81</c:v>
                </c:pt>
                <c:pt idx="2424">
                  <c:v>870.74</c:v>
                </c:pt>
                <c:pt idx="2425">
                  <c:v>845.22</c:v>
                </c:pt>
                <c:pt idx="2426">
                  <c:v>876.07</c:v>
                </c:pt>
                <c:pt idx="2427">
                  <c:v>909.7</c:v>
                </c:pt>
                <c:pt idx="2428">
                  <c:v>888.67</c:v>
                </c:pt>
                <c:pt idx="2429">
                  <c:v>899.24</c:v>
                </c:pt>
                <c:pt idx="2430">
                  <c:v>873.59</c:v>
                </c:pt>
                <c:pt idx="2431">
                  <c:v>879.73</c:v>
                </c:pt>
                <c:pt idx="2432">
                  <c:v>868.57</c:v>
                </c:pt>
                <c:pt idx="2433">
                  <c:v>913.18</c:v>
                </c:pt>
                <c:pt idx="2434">
                  <c:v>904.42</c:v>
                </c:pt>
                <c:pt idx="2435">
                  <c:v>885.28</c:v>
                </c:pt>
                <c:pt idx="2436">
                  <c:v>887.88</c:v>
                </c:pt>
                <c:pt idx="2437">
                  <c:v>871.63</c:v>
                </c:pt>
                <c:pt idx="2438">
                  <c:v>863.16</c:v>
                </c:pt>
                <c:pt idx="2439">
                  <c:v>868.15</c:v>
                </c:pt>
                <c:pt idx="2440">
                  <c:v>868.15</c:v>
                </c:pt>
                <c:pt idx="2441">
                  <c:v>872.8</c:v>
                </c:pt>
                <c:pt idx="2442">
                  <c:v>869.42</c:v>
                </c:pt>
                <c:pt idx="2443">
                  <c:v>890.64</c:v>
                </c:pt>
                <c:pt idx="2444">
                  <c:v>903.25</c:v>
                </c:pt>
                <c:pt idx="2445">
                  <c:v>903.25</c:v>
                </c:pt>
                <c:pt idx="2446">
                  <c:v>931.8</c:v>
                </c:pt>
                <c:pt idx="2447">
                  <c:v>927.45</c:v>
                </c:pt>
                <c:pt idx="2448">
                  <c:v>934.7</c:v>
                </c:pt>
                <c:pt idx="2449">
                  <c:v>906.65</c:v>
                </c:pt>
                <c:pt idx="2450">
                  <c:v>909.73</c:v>
                </c:pt>
                <c:pt idx="2451">
                  <c:v>890.35</c:v>
                </c:pt>
                <c:pt idx="2452">
                  <c:v>870.26</c:v>
                </c:pt>
                <c:pt idx="2453">
                  <c:v>871.79</c:v>
                </c:pt>
                <c:pt idx="2454">
                  <c:v>842.62</c:v>
                </c:pt>
                <c:pt idx="2455">
                  <c:v>843.74</c:v>
                </c:pt>
                <c:pt idx="2456">
                  <c:v>850.12</c:v>
                </c:pt>
                <c:pt idx="2457">
                  <c:v>850.12</c:v>
                </c:pt>
                <c:pt idx="2458">
                  <c:v>805.22</c:v>
                </c:pt>
                <c:pt idx="2459">
                  <c:v>840.24</c:v>
                </c:pt>
                <c:pt idx="2460">
                  <c:v>827.5</c:v>
                </c:pt>
                <c:pt idx="2461">
                  <c:v>831.95</c:v>
                </c:pt>
                <c:pt idx="2462">
                  <c:v>836.57</c:v>
                </c:pt>
                <c:pt idx="2463">
                  <c:v>845.71</c:v>
                </c:pt>
                <c:pt idx="2464">
                  <c:v>874.09</c:v>
                </c:pt>
                <c:pt idx="2465">
                  <c:v>845.14</c:v>
                </c:pt>
                <c:pt idx="2466">
                  <c:v>825.88</c:v>
                </c:pt>
                <c:pt idx="2467">
                  <c:v>825.44</c:v>
                </c:pt>
                <c:pt idx="2468">
                  <c:v>838.51</c:v>
                </c:pt>
                <c:pt idx="2469">
                  <c:v>832.23</c:v>
                </c:pt>
                <c:pt idx="2470">
                  <c:v>845.85</c:v>
                </c:pt>
                <c:pt idx="2471">
                  <c:v>868.6</c:v>
                </c:pt>
                <c:pt idx="2472">
                  <c:v>869.89</c:v>
                </c:pt>
                <c:pt idx="2473">
                  <c:v>827.16</c:v>
                </c:pt>
                <c:pt idx="2474">
                  <c:v>833.74</c:v>
                </c:pt>
                <c:pt idx="2475">
                  <c:v>835.19</c:v>
                </c:pt>
                <c:pt idx="2476">
                  <c:v>826.84</c:v>
                </c:pt>
                <c:pt idx="2477">
                  <c:v>826.84</c:v>
                </c:pt>
                <c:pt idx="2478">
                  <c:v>789.17</c:v>
                </c:pt>
                <c:pt idx="2479">
                  <c:v>788.42</c:v>
                </c:pt>
                <c:pt idx="2480">
                  <c:v>778.94</c:v>
                </c:pt>
                <c:pt idx="2481">
                  <c:v>770.05</c:v>
                </c:pt>
                <c:pt idx="2482">
                  <c:v>743.33</c:v>
                </c:pt>
                <c:pt idx="2483">
                  <c:v>773.14</c:v>
                </c:pt>
                <c:pt idx="2484">
                  <c:v>764.9</c:v>
                </c:pt>
                <c:pt idx="2485">
                  <c:v>752.83</c:v>
                </c:pt>
                <c:pt idx="2486">
                  <c:v>735.09</c:v>
                </c:pt>
                <c:pt idx="2487">
                  <c:v>700.82</c:v>
                </c:pt>
                <c:pt idx="2488">
                  <c:v>696.33</c:v>
                </c:pt>
                <c:pt idx="2489">
                  <c:v>712.87</c:v>
                </c:pt>
                <c:pt idx="2490">
                  <c:v>682.55</c:v>
                </c:pt>
                <c:pt idx="2491">
                  <c:v>683.38</c:v>
                </c:pt>
                <c:pt idx="2492">
                  <c:v>676.53</c:v>
                </c:pt>
                <c:pt idx="2493">
                  <c:v>719.6</c:v>
                </c:pt>
                <c:pt idx="2494">
                  <c:v>721.36</c:v>
                </c:pt>
                <c:pt idx="2495">
                  <c:v>750.74</c:v>
                </c:pt>
                <c:pt idx="2496">
                  <c:v>756.55</c:v>
                </c:pt>
                <c:pt idx="2497">
                  <c:v>753.89</c:v>
                </c:pt>
                <c:pt idx="2498">
                  <c:v>778.12</c:v>
                </c:pt>
                <c:pt idx="2499">
                  <c:v>794.35</c:v>
                </c:pt>
                <c:pt idx="2500">
                  <c:v>784.04</c:v>
                </c:pt>
                <c:pt idx="2501">
                  <c:v>768.54</c:v>
                </c:pt>
                <c:pt idx="2502">
                  <c:v>822.92</c:v>
                </c:pt>
                <c:pt idx="2503">
                  <c:v>806.12</c:v>
                </c:pt>
                <c:pt idx="2504">
                  <c:v>813.88</c:v>
                </c:pt>
                <c:pt idx="2505">
                  <c:v>832.86</c:v>
                </c:pt>
                <c:pt idx="2506">
                  <c:v>815.94</c:v>
                </c:pt>
                <c:pt idx="2507">
                  <c:v>787.53</c:v>
                </c:pt>
                <c:pt idx="2508">
                  <c:v>797.87</c:v>
                </c:pt>
                <c:pt idx="2509">
                  <c:v>811.08</c:v>
                </c:pt>
                <c:pt idx="2510">
                  <c:v>834.38</c:v>
                </c:pt>
                <c:pt idx="2511">
                  <c:v>842.5</c:v>
                </c:pt>
                <c:pt idx="2512">
                  <c:v>835.48</c:v>
                </c:pt>
                <c:pt idx="2513">
                  <c:v>815.55</c:v>
                </c:pt>
                <c:pt idx="2514">
                  <c:v>825.16</c:v>
                </c:pt>
                <c:pt idx="2515">
                  <c:v>856.56</c:v>
                </c:pt>
                <c:pt idx="2516">
                  <c:v>856.56</c:v>
                </c:pt>
                <c:pt idx="2517">
                  <c:v>858.73</c:v>
                </c:pt>
                <c:pt idx="2518">
                  <c:v>841.5</c:v>
                </c:pt>
                <c:pt idx="2519">
                  <c:v>852.06</c:v>
                </c:pt>
                <c:pt idx="2520">
                  <c:v>865.3</c:v>
                </c:pt>
                <c:pt idx="2521">
                  <c:v>869.6</c:v>
                </c:pt>
                <c:pt idx="2522">
                  <c:v>832.39</c:v>
                </c:pt>
                <c:pt idx="2523">
                  <c:v>850.08</c:v>
                </c:pt>
                <c:pt idx="2524">
                  <c:v>843.55</c:v>
                </c:pt>
                <c:pt idx="2525">
                  <c:v>851.92</c:v>
                </c:pt>
                <c:pt idx="2526">
                  <c:v>866.23</c:v>
                </c:pt>
                <c:pt idx="2527">
                  <c:v>857.51</c:v>
                </c:pt>
                <c:pt idx="2528">
                  <c:v>855.16</c:v>
                </c:pt>
                <c:pt idx="2529">
                  <c:v>873.64</c:v>
                </c:pt>
                <c:pt idx="2530">
                  <c:v>872.81</c:v>
                </c:pt>
                <c:pt idx="2531">
                  <c:v>877.52</c:v>
                </c:pt>
                <c:pt idx="2532">
                  <c:v>907.24</c:v>
                </c:pt>
                <c:pt idx="2533">
                  <c:v>903.8</c:v>
                </c:pt>
                <c:pt idx="2534">
                  <c:v>919.53</c:v>
                </c:pt>
                <c:pt idx="2535">
                  <c:v>907.39</c:v>
                </c:pt>
                <c:pt idx="2536">
                  <c:v>929.23</c:v>
                </c:pt>
                <c:pt idx="2537">
                  <c:v>909.24</c:v>
                </c:pt>
                <c:pt idx="2538">
                  <c:v>908.35</c:v>
                </c:pt>
                <c:pt idx="2539">
                  <c:v>883.92</c:v>
                </c:pt>
                <c:pt idx="2540">
                  <c:v>893.07</c:v>
                </c:pt>
                <c:pt idx="2541">
                  <c:v>882.88</c:v>
                </c:pt>
                <c:pt idx="2542">
                  <c:v>909.71</c:v>
                </c:pt>
                <c:pt idx="2543">
                  <c:v>908.13</c:v>
                </c:pt>
                <c:pt idx="2544">
                  <c:v>903.47</c:v>
                </c:pt>
                <c:pt idx="2545">
                  <c:v>888.33</c:v>
                </c:pt>
                <c:pt idx="2546">
                  <c:v>887</c:v>
                </c:pt>
                <c:pt idx="2547">
                  <c:v>887</c:v>
                </c:pt>
                <c:pt idx="2548">
                  <c:v>910.33</c:v>
                </c:pt>
                <c:pt idx="2549">
                  <c:v>893.06</c:v>
                </c:pt>
                <c:pt idx="2550">
                  <c:v>906.83</c:v>
                </c:pt>
                <c:pt idx="2551">
                  <c:v>919.14</c:v>
                </c:pt>
                <c:pt idx="2552">
                  <c:v>942.87</c:v>
                </c:pt>
                <c:pt idx="2553">
                  <c:v>944.74</c:v>
                </c:pt>
                <c:pt idx="2554">
                  <c:v>931.76</c:v>
                </c:pt>
                <c:pt idx="2555">
                  <c:v>942.46</c:v>
                </c:pt>
                <c:pt idx="2556">
                  <c:v>940.09</c:v>
                </c:pt>
                <c:pt idx="2557">
                  <c:v>939.14</c:v>
                </c:pt>
                <c:pt idx="2558">
                  <c:v>942.43</c:v>
                </c:pt>
                <c:pt idx="2559">
                  <c:v>939.15</c:v>
                </c:pt>
                <c:pt idx="2560">
                  <c:v>944.89</c:v>
                </c:pt>
                <c:pt idx="2561">
                  <c:v>946.21</c:v>
                </c:pt>
                <c:pt idx="2562">
                  <c:v>923.72</c:v>
                </c:pt>
                <c:pt idx="2563">
                  <c:v>911.97</c:v>
                </c:pt>
                <c:pt idx="2564">
                  <c:v>910.71</c:v>
                </c:pt>
                <c:pt idx="2565">
                  <c:v>918.37</c:v>
                </c:pt>
                <c:pt idx="2566">
                  <c:v>921.23</c:v>
                </c:pt>
                <c:pt idx="2567">
                  <c:v>893.04</c:v>
                </c:pt>
                <c:pt idx="2568">
                  <c:v>895.1</c:v>
                </c:pt>
                <c:pt idx="2569">
                  <c:v>900.94</c:v>
                </c:pt>
                <c:pt idx="2570">
                  <c:v>920.26</c:v>
                </c:pt>
                <c:pt idx="2571">
                  <c:v>918.9</c:v>
                </c:pt>
                <c:pt idx="2572">
                  <c:v>927.23</c:v>
                </c:pt>
                <c:pt idx="2573">
                  <c:v>919.32</c:v>
                </c:pt>
                <c:pt idx="2574">
                  <c:v>923.33</c:v>
                </c:pt>
                <c:pt idx="2575">
                  <c:v>896.42</c:v>
                </c:pt>
                <c:pt idx="2576">
                  <c:v>896.42</c:v>
                </c:pt>
                <c:pt idx="2577">
                  <c:v>898.72</c:v>
                </c:pt>
                <c:pt idx="2578">
                  <c:v>881.03</c:v>
                </c:pt>
                <c:pt idx="2579">
                  <c:v>879.56</c:v>
                </c:pt>
                <c:pt idx="2580">
                  <c:v>882.68</c:v>
                </c:pt>
                <c:pt idx="2581">
                  <c:v>879.13</c:v>
                </c:pt>
                <c:pt idx="2582">
                  <c:v>901.05</c:v>
                </c:pt>
                <c:pt idx="2583">
                  <c:v>905.84</c:v>
                </c:pt>
                <c:pt idx="2584">
                  <c:v>932.68</c:v>
                </c:pt>
                <c:pt idx="2585">
                  <c:v>940.74</c:v>
                </c:pt>
                <c:pt idx="2586">
                  <c:v>940.38</c:v>
                </c:pt>
                <c:pt idx="2587">
                  <c:v>951.13</c:v>
                </c:pt>
                <c:pt idx="2588">
                  <c:v>954.58</c:v>
                </c:pt>
                <c:pt idx="2589">
                  <c:v>954.07</c:v>
                </c:pt>
                <c:pt idx="2590">
                  <c:v>976.29</c:v>
                </c:pt>
                <c:pt idx="2591">
                  <c:v>979.26</c:v>
                </c:pt>
                <c:pt idx="2592">
                  <c:v>982.18</c:v>
                </c:pt>
                <c:pt idx="2593">
                  <c:v>979.62</c:v>
                </c:pt>
                <c:pt idx="2594">
                  <c:v>975.15</c:v>
                </c:pt>
                <c:pt idx="2595">
                  <c:v>986.75</c:v>
                </c:pt>
                <c:pt idx="2596">
                  <c:v>987.48</c:v>
                </c:pt>
                <c:pt idx="2597">
                  <c:v>1002.63</c:v>
                </c:pt>
                <c:pt idx="2598">
                  <c:v>1005.65</c:v>
                </c:pt>
                <c:pt idx="2599">
                  <c:v>1002.72</c:v>
                </c:pt>
                <c:pt idx="2600">
                  <c:v>997.08</c:v>
                </c:pt>
                <c:pt idx="2601">
                  <c:v>1010.48</c:v>
                </c:pt>
                <c:pt idx="2602">
                  <c:v>1007.1</c:v>
                </c:pt>
                <c:pt idx="2603">
                  <c:v>994.35</c:v>
                </c:pt>
                <c:pt idx="2604">
                  <c:v>1005.81</c:v>
                </c:pt>
                <c:pt idx="2605">
                  <c:v>1012.73</c:v>
                </c:pt>
                <c:pt idx="2606">
                  <c:v>1004.09</c:v>
                </c:pt>
                <c:pt idx="2607">
                  <c:v>979.73</c:v>
                </c:pt>
                <c:pt idx="2608">
                  <c:v>989.67</c:v>
                </c:pt>
                <c:pt idx="2609">
                  <c:v>996.46</c:v>
                </c:pt>
                <c:pt idx="2610">
                  <c:v>1007.37</c:v>
                </c:pt>
                <c:pt idx="2611">
                  <c:v>1026.1300000000001</c:v>
                </c:pt>
                <c:pt idx="2612">
                  <c:v>1025.57</c:v>
                </c:pt>
                <c:pt idx="2613">
                  <c:v>1028</c:v>
                </c:pt>
                <c:pt idx="2614">
                  <c:v>1028.1199999999999</c:v>
                </c:pt>
                <c:pt idx="2615">
                  <c:v>1030.98</c:v>
                </c:pt>
                <c:pt idx="2616">
                  <c:v>1028.93</c:v>
                </c:pt>
                <c:pt idx="2617">
                  <c:v>1020.62</c:v>
                </c:pt>
                <c:pt idx="2618">
                  <c:v>998.04</c:v>
                </c:pt>
                <c:pt idx="2619">
                  <c:v>994.75</c:v>
                </c:pt>
                <c:pt idx="2620">
                  <c:v>1003.24</c:v>
                </c:pt>
                <c:pt idx="2621">
                  <c:v>1016.4</c:v>
                </c:pt>
                <c:pt idx="2622">
                  <c:v>1016.4</c:v>
                </c:pt>
                <c:pt idx="2623">
                  <c:v>1025.3900000000001</c:v>
                </c:pt>
                <c:pt idx="2624">
                  <c:v>1033.3699999999999</c:v>
                </c:pt>
                <c:pt idx="2625">
                  <c:v>1044.1400000000001</c:v>
                </c:pt>
                <c:pt idx="2626">
                  <c:v>1042.73</c:v>
                </c:pt>
                <c:pt idx="2627">
                  <c:v>1049.3399999999999</c:v>
                </c:pt>
                <c:pt idx="2628">
                  <c:v>1052.6300000000001</c:v>
                </c:pt>
                <c:pt idx="2629">
                  <c:v>1068.76</c:v>
                </c:pt>
                <c:pt idx="2630">
                  <c:v>1065.49</c:v>
                </c:pt>
                <c:pt idx="2631">
                  <c:v>1068.3</c:v>
                </c:pt>
                <c:pt idx="2632">
                  <c:v>1064.6600000000001</c:v>
                </c:pt>
                <c:pt idx="2633">
                  <c:v>1071.6600000000001</c:v>
                </c:pt>
                <c:pt idx="2634">
                  <c:v>1060.8699999999999</c:v>
                </c:pt>
                <c:pt idx="2635">
                  <c:v>1050.78</c:v>
                </c:pt>
                <c:pt idx="2636">
                  <c:v>1044.3800000000001</c:v>
                </c:pt>
                <c:pt idx="2637">
                  <c:v>1062.98</c:v>
                </c:pt>
                <c:pt idx="2638">
                  <c:v>1060.6099999999999</c:v>
                </c:pt>
                <c:pt idx="2639">
                  <c:v>1057.08</c:v>
                </c:pt>
                <c:pt idx="2640">
                  <c:v>1029.8499999999999</c:v>
                </c:pt>
                <c:pt idx="2641">
                  <c:v>1025.21</c:v>
                </c:pt>
                <c:pt idx="2642">
                  <c:v>1040.46</c:v>
                </c:pt>
                <c:pt idx="2643">
                  <c:v>1054.72</c:v>
                </c:pt>
                <c:pt idx="2644">
                  <c:v>1057.58</c:v>
                </c:pt>
                <c:pt idx="2645">
                  <c:v>1065.48</c:v>
                </c:pt>
                <c:pt idx="2646">
                  <c:v>1071.49</c:v>
                </c:pt>
                <c:pt idx="2647">
                  <c:v>1076.19</c:v>
                </c:pt>
                <c:pt idx="2648">
                  <c:v>1073.19</c:v>
                </c:pt>
                <c:pt idx="2649">
                  <c:v>1092.02</c:v>
                </c:pt>
                <c:pt idx="2650">
                  <c:v>1096.56</c:v>
                </c:pt>
                <c:pt idx="2651">
                  <c:v>1087.68</c:v>
                </c:pt>
                <c:pt idx="2652">
                  <c:v>1097.9100000000001</c:v>
                </c:pt>
                <c:pt idx="2653">
                  <c:v>1091.06</c:v>
                </c:pt>
                <c:pt idx="2654">
                  <c:v>1081.4000000000001</c:v>
                </c:pt>
                <c:pt idx="2655">
                  <c:v>1092.9100000000001</c:v>
                </c:pt>
                <c:pt idx="2656">
                  <c:v>1079.5999999999999</c:v>
                </c:pt>
                <c:pt idx="2657">
                  <c:v>1066.95</c:v>
                </c:pt>
                <c:pt idx="2658">
                  <c:v>1063.4100000000001</c:v>
                </c:pt>
                <c:pt idx="2659">
                  <c:v>1042.6300000000001</c:v>
                </c:pt>
                <c:pt idx="2660">
                  <c:v>1066.1099999999999</c:v>
                </c:pt>
                <c:pt idx="2661">
                  <c:v>1036.19</c:v>
                </c:pt>
                <c:pt idx="2662">
                  <c:v>1042.8800000000001</c:v>
                </c:pt>
                <c:pt idx="2663">
                  <c:v>1045.4100000000001</c:v>
                </c:pt>
                <c:pt idx="2664">
                  <c:v>1046.5</c:v>
                </c:pt>
                <c:pt idx="2665">
                  <c:v>1066.6300000000001</c:v>
                </c:pt>
                <c:pt idx="2666">
                  <c:v>1069.3</c:v>
                </c:pt>
                <c:pt idx="2667">
                  <c:v>1093.08</c:v>
                </c:pt>
                <c:pt idx="2668">
                  <c:v>1093.01</c:v>
                </c:pt>
                <c:pt idx="2669">
                  <c:v>1098.51</c:v>
                </c:pt>
                <c:pt idx="2670">
                  <c:v>1087.24</c:v>
                </c:pt>
                <c:pt idx="2671">
                  <c:v>1093.48</c:v>
                </c:pt>
                <c:pt idx="2672">
                  <c:v>1109.3</c:v>
                </c:pt>
                <c:pt idx="2673">
                  <c:v>1110.32</c:v>
                </c:pt>
                <c:pt idx="2674">
                  <c:v>1109.8</c:v>
                </c:pt>
                <c:pt idx="2675">
                  <c:v>1094.9000000000001</c:v>
                </c:pt>
                <c:pt idx="2676">
                  <c:v>1091.3800000000001</c:v>
                </c:pt>
                <c:pt idx="2677">
                  <c:v>1106.24</c:v>
                </c:pt>
                <c:pt idx="2678">
                  <c:v>1105.6500000000001</c:v>
                </c:pt>
                <c:pt idx="2679">
                  <c:v>1110.6300000000001</c:v>
                </c:pt>
                <c:pt idx="2680">
                  <c:v>1110.6300000000001</c:v>
                </c:pt>
                <c:pt idx="2681">
                  <c:v>1091.49</c:v>
                </c:pt>
                <c:pt idx="2682">
                  <c:v>1095.6300000000001</c:v>
                </c:pt>
                <c:pt idx="2683">
                  <c:v>1108.8599999999999</c:v>
                </c:pt>
                <c:pt idx="2684">
                  <c:v>1109.24</c:v>
                </c:pt>
                <c:pt idx="2685">
                  <c:v>1099.92</c:v>
                </c:pt>
                <c:pt idx="2686">
                  <c:v>1105.98</c:v>
                </c:pt>
                <c:pt idx="2687">
                  <c:v>1103.25</c:v>
                </c:pt>
                <c:pt idx="2688">
                  <c:v>1091.94</c:v>
                </c:pt>
                <c:pt idx="2689">
                  <c:v>1095.95</c:v>
                </c:pt>
                <c:pt idx="2690">
                  <c:v>1102.3499999999999</c:v>
                </c:pt>
                <c:pt idx="2691">
                  <c:v>1106.4100000000001</c:v>
                </c:pt>
                <c:pt idx="2692">
                  <c:v>1114.1099999999999</c:v>
                </c:pt>
                <c:pt idx="2693">
                  <c:v>1107.93</c:v>
                </c:pt>
                <c:pt idx="2694">
                  <c:v>1109.18</c:v>
                </c:pt>
                <c:pt idx="2695">
                  <c:v>1096.08</c:v>
                </c:pt>
                <c:pt idx="2696">
                  <c:v>1102.47</c:v>
                </c:pt>
                <c:pt idx="2697">
                  <c:v>1114.05</c:v>
                </c:pt>
                <c:pt idx="2698">
                  <c:v>1118.02</c:v>
                </c:pt>
                <c:pt idx="2699">
                  <c:v>1120.5899999999999</c:v>
                </c:pt>
                <c:pt idx="2700">
                  <c:v>1126.48</c:v>
                </c:pt>
                <c:pt idx="2701">
                  <c:v>1126.48</c:v>
                </c:pt>
                <c:pt idx="2702">
                  <c:v>1127.78</c:v>
                </c:pt>
                <c:pt idx="2703">
                  <c:v>1126.2</c:v>
                </c:pt>
                <c:pt idx="2704">
                  <c:v>1126.42</c:v>
                </c:pt>
                <c:pt idx="2705">
                  <c:v>1115.0999999999999</c:v>
                </c:pt>
                <c:pt idx="2706">
                  <c:v>1115.0999999999999</c:v>
                </c:pt>
                <c:pt idx="2707">
                  <c:v>1132.99</c:v>
                </c:pt>
                <c:pt idx="2708">
                  <c:v>1136.52</c:v>
                </c:pt>
                <c:pt idx="2709">
                  <c:v>1137.1400000000001</c:v>
                </c:pt>
                <c:pt idx="2710">
                  <c:v>1141.69</c:v>
                </c:pt>
                <c:pt idx="2711">
                  <c:v>1144.98</c:v>
                </c:pt>
                <c:pt idx="2712">
                  <c:v>1146.98</c:v>
                </c:pt>
                <c:pt idx="2713">
                  <c:v>1136.22</c:v>
                </c:pt>
                <c:pt idx="2714">
                  <c:v>1145.68</c:v>
                </c:pt>
                <c:pt idx="2715">
                  <c:v>1148.46</c:v>
                </c:pt>
                <c:pt idx="2716">
                  <c:v>1136.03</c:v>
                </c:pt>
                <c:pt idx="2717">
                  <c:v>1136.03</c:v>
                </c:pt>
                <c:pt idx="2718">
                  <c:v>1150.23</c:v>
                </c:pt>
                <c:pt idx="2719">
                  <c:v>1138.04</c:v>
                </c:pt>
                <c:pt idx="2720">
                  <c:v>1116.48</c:v>
                </c:pt>
                <c:pt idx="2721">
                  <c:v>1091.76</c:v>
                </c:pt>
                <c:pt idx="2722">
                  <c:v>1096.78</c:v>
                </c:pt>
                <c:pt idx="2723">
                  <c:v>1092.17</c:v>
                </c:pt>
                <c:pt idx="2724">
                  <c:v>1097.5</c:v>
                </c:pt>
                <c:pt idx="2725">
                  <c:v>1084.53</c:v>
                </c:pt>
                <c:pt idx="2726">
                  <c:v>1073.8699999999999</c:v>
                </c:pt>
                <c:pt idx="2727">
                  <c:v>1089.19</c:v>
                </c:pt>
                <c:pt idx="2728">
                  <c:v>1103.32</c:v>
                </c:pt>
                <c:pt idx="2729">
                  <c:v>1097.28</c:v>
                </c:pt>
                <c:pt idx="2730">
                  <c:v>1063.1099999999999</c:v>
                </c:pt>
                <c:pt idx="2731">
                  <c:v>1066.19</c:v>
                </c:pt>
                <c:pt idx="2732">
                  <c:v>1056.74</c:v>
                </c:pt>
                <c:pt idx="2733">
                  <c:v>1070.52</c:v>
                </c:pt>
                <c:pt idx="2734">
                  <c:v>1068.1300000000001</c:v>
                </c:pt>
                <c:pt idx="2735">
                  <c:v>1078.47</c:v>
                </c:pt>
                <c:pt idx="2736">
                  <c:v>1075.51</c:v>
                </c:pt>
                <c:pt idx="2737">
                  <c:v>1075.51</c:v>
                </c:pt>
                <c:pt idx="2738">
                  <c:v>1094.8699999999999</c:v>
                </c:pt>
                <c:pt idx="2739">
                  <c:v>1099.51</c:v>
                </c:pt>
                <c:pt idx="2740">
                  <c:v>1106.75</c:v>
                </c:pt>
                <c:pt idx="2741">
                  <c:v>1109.17</c:v>
                </c:pt>
                <c:pt idx="2742">
                  <c:v>1108.01</c:v>
                </c:pt>
                <c:pt idx="2743">
                  <c:v>1094.5999999999999</c:v>
                </c:pt>
                <c:pt idx="2744">
                  <c:v>1105.24</c:v>
                </c:pt>
                <c:pt idx="2745">
                  <c:v>1102.94</c:v>
                </c:pt>
                <c:pt idx="2746">
                  <c:v>1104.49</c:v>
                </c:pt>
                <c:pt idx="2747">
                  <c:v>1115.71</c:v>
                </c:pt>
                <c:pt idx="2748">
                  <c:v>1118.31</c:v>
                </c:pt>
                <c:pt idx="2749">
                  <c:v>1118.79</c:v>
                </c:pt>
                <c:pt idx="2750">
                  <c:v>1122.97</c:v>
                </c:pt>
                <c:pt idx="2751">
                  <c:v>1138.7</c:v>
                </c:pt>
                <c:pt idx="2752">
                  <c:v>1138.5</c:v>
                </c:pt>
                <c:pt idx="2753">
                  <c:v>1140.45</c:v>
                </c:pt>
                <c:pt idx="2754">
                  <c:v>1145.6099999999999</c:v>
                </c:pt>
                <c:pt idx="2755">
                  <c:v>1150.24</c:v>
                </c:pt>
                <c:pt idx="2756">
                  <c:v>1149.99</c:v>
                </c:pt>
                <c:pt idx="2757">
                  <c:v>1150.51</c:v>
                </c:pt>
                <c:pt idx="2758">
                  <c:v>1159.46</c:v>
                </c:pt>
                <c:pt idx="2759">
                  <c:v>1166.21</c:v>
                </c:pt>
                <c:pt idx="2760">
                  <c:v>1165.83</c:v>
                </c:pt>
                <c:pt idx="2761">
                  <c:v>1159.9000000000001</c:v>
                </c:pt>
                <c:pt idx="2762">
                  <c:v>1165.81</c:v>
                </c:pt>
                <c:pt idx="2763">
                  <c:v>1174.17</c:v>
                </c:pt>
                <c:pt idx="2764">
                  <c:v>1167.72</c:v>
                </c:pt>
                <c:pt idx="2765">
                  <c:v>1165.73</c:v>
                </c:pt>
                <c:pt idx="2766">
                  <c:v>1166.5899999999999</c:v>
                </c:pt>
                <c:pt idx="2767">
                  <c:v>1173.22</c:v>
                </c:pt>
                <c:pt idx="2768">
                  <c:v>1173.27</c:v>
                </c:pt>
                <c:pt idx="2769">
                  <c:v>1169.43</c:v>
                </c:pt>
                <c:pt idx="2770">
                  <c:v>1178.0999999999999</c:v>
                </c:pt>
                <c:pt idx="2771">
                  <c:v>1178.0999999999999</c:v>
                </c:pt>
                <c:pt idx="2772">
                  <c:v>1187.44</c:v>
                </c:pt>
                <c:pt idx="2773">
                  <c:v>1189.44</c:v>
                </c:pt>
                <c:pt idx="2774">
                  <c:v>1182.45</c:v>
                </c:pt>
                <c:pt idx="2775">
                  <c:v>1186.44</c:v>
                </c:pt>
                <c:pt idx="2776">
                  <c:v>1194.3699999999999</c:v>
                </c:pt>
                <c:pt idx="2777">
                  <c:v>1196.48</c:v>
                </c:pt>
                <c:pt idx="2778">
                  <c:v>1197.3</c:v>
                </c:pt>
                <c:pt idx="2779">
                  <c:v>1210.6500000000001</c:v>
                </c:pt>
                <c:pt idx="2780">
                  <c:v>1211.67</c:v>
                </c:pt>
                <c:pt idx="2781">
                  <c:v>1192.1300000000001</c:v>
                </c:pt>
                <c:pt idx="2782">
                  <c:v>1197.52</c:v>
                </c:pt>
                <c:pt idx="2783">
                  <c:v>1207.17</c:v>
                </c:pt>
                <c:pt idx="2784">
                  <c:v>1205.94</c:v>
                </c:pt>
                <c:pt idx="2785">
                  <c:v>1208.67</c:v>
                </c:pt>
                <c:pt idx="2786">
                  <c:v>1217.28</c:v>
                </c:pt>
                <c:pt idx="2787">
                  <c:v>1212.05</c:v>
                </c:pt>
                <c:pt idx="2788">
                  <c:v>1183.71</c:v>
                </c:pt>
                <c:pt idx="2789">
                  <c:v>1191.3599999999999</c:v>
                </c:pt>
                <c:pt idx="2790">
                  <c:v>1206.78</c:v>
                </c:pt>
                <c:pt idx="2791">
                  <c:v>1186.69</c:v>
                </c:pt>
                <c:pt idx="2792">
                  <c:v>1202.26</c:v>
                </c:pt>
                <c:pt idx="2793">
                  <c:v>1173.5999999999999</c:v>
                </c:pt>
                <c:pt idx="2794">
                  <c:v>1165.9000000000001</c:v>
                </c:pt>
                <c:pt idx="2795">
                  <c:v>1128.1500000000001</c:v>
                </c:pt>
                <c:pt idx="2796">
                  <c:v>1110.8800000000001</c:v>
                </c:pt>
                <c:pt idx="2797">
                  <c:v>1159.73</c:v>
                </c:pt>
                <c:pt idx="2798">
                  <c:v>1155.79</c:v>
                </c:pt>
                <c:pt idx="2799">
                  <c:v>1171.67</c:v>
                </c:pt>
                <c:pt idx="2800">
                  <c:v>1157.44</c:v>
                </c:pt>
                <c:pt idx="2801">
                  <c:v>1135.68</c:v>
                </c:pt>
                <c:pt idx="2802">
                  <c:v>1136.94</c:v>
                </c:pt>
                <c:pt idx="2803">
                  <c:v>1120.8</c:v>
                </c:pt>
                <c:pt idx="2804">
                  <c:v>1115.05</c:v>
                </c:pt>
                <c:pt idx="2805">
                  <c:v>1071.5899999999999</c:v>
                </c:pt>
                <c:pt idx="2806">
                  <c:v>1087.69</c:v>
                </c:pt>
                <c:pt idx="2807">
                  <c:v>1073.6500000000001</c:v>
                </c:pt>
                <c:pt idx="2808">
                  <c:v>1074.03</c:v>
                </c:pt>
                <c:pt idx="2809">
                  <c:v>1067.95</c:v>
                </c:pt>
                <c:pt idx="2810">
                  <c:v>1103.06</c:v>
                </c:pt>
                <c:pt idx="2811">
                  <c:v>1089.4100000000001</c:v>
                </c:pt>
                <c:pt idx="2812">
                  <c:v>1089.4100000000001</c:v>
                </c:pt>
                <c:pt idx="2813">
                  <c:v>1070.71</c:v>
                </c:pt>
                <c:pt idx="2814">
                  <c:v>1098.3800000000001</c:v>
                </c:pt>
                <c:pt idx="2815">
                  <c:v>1102.83</c:v>
                </c:pt>
                <c:pt idx="2816">
                  <c:v>1064.8800000000001</c:v>
                </c:pt>
                <c:pt idx="2817">
                  <c:v>1050.47</c:v>
                </c:pt>
                <c:pt idx="2818">
                  <c:v>1062</c:v>
                </c:pt>
                <c:pt idx="2819">
                  <c:v>1055.69</c:v>
                </c:pt>
                <c:pt idx="2820">
                  <c:v>1086.8399999999999</c:v>
                </c:pt>
                <c:pt idx="2821">
                  <c:v>1091.5999999999999</c:v>
                </c:pt>
                <c:pt idx="2822">
                  <c:v>1089.6300000000001</c:v>
                </c:pt>
                <c:pt idx="2823">
                  <c:v>1115.23</c:v>
                </c:pt>
                <c:pt idx="2824">
                  <c:v>1114.6099999999999</c:v>
                </c:pt>
                <c:pt idx="2825">
                  <c:v>1116.04</c:v>
                </c:pt>
                <c:pt idx="2826">
                  <c:v>1117.51</c:v>
                </c:pt>
                <c:pt idx="2827">
                  <c:v>1113.2</c:v>
                </c:pt>
                <c:pt idx="2828">
                  <c:v>1095.31</c:v>
                </c:pt>
                <c:pt idx="2829">
                  <c:v>1092.04</c:v>
                </c:pt>
                <c:pt idx="2830">
                  <c:v>1073.69</c:v>
                </c:pt>
                <c:pt idx="2831">
                  <c:v>1076.76</c:v>
                </c:pt>
                <c:pt idx="2832">
                  <c:v>1074.57</c:v>
                </c:pt>
                <c:pt idx="2833">
                  <c:v>1041.24</c:v>
                </c:pt>
                <c:pt idx="2834">
                  <c:v>1030.71</c:v>
                </c:pt>
                <c:pt idx="2835">
                  <c:v>1027.3699999999999</c:v>
                </c:pt>
                <c:pt idx="2836">
                  <c:v>1022.58</c:v>
                </c:pt>
                <c:pt idx="2837">
                  <c:v>1022.58</c:v>
                </c:pt>
                <c:pt idx="2838">
                  <c:v>1028.06</c:v>
                </c:pt>
                <c:pt idx="2839">
                  <c:v>1060.27</c:v>
                </c:pt>
                <c:pt idx="2840">
                  <c:v>1070.25</c:v>
                </c:pt>
                <c:pt idx="2841">
                  <c:v>1077.96</c:v>
                </c:pt>
                <c:pt idx="2842">
                  <c:v>1078.75</c:v>
                </c:pt>
                <c:pt idx="2843">
                  <c:v>1095.3399999999999</c:v>
                </c:pt>
                <c:pt idx="2844">
                  <c:v>1095.17</c:v>
                </c:pt>
                <c:pt idx="2845">
                  <c:v>1096.48</c:v>
                </c:pt>
                <c:pt idx="2846">
                  <c:v>1064.8800000000001</c:v>
                </c:pt>
                <c:pt idx="2847">
                  <c:v>1071.25</c:v>
                </c:pt>
                <c:pt idx="2848">
                  <c:v>1083.48</c:v>
                </c:pt>
                <c:pt idx="2849">
                  <c:v>1069.5899999999999</c:v>
                </c:pt>
                <c:pt idx="2850">
                  <c:v>1093.67</c:v>
                </c:pt>
                <c:pt idx="2851">
                  <c:v>1102.6600000000001</c:v>
                </c:pt>
                <c:pt idx="2852">
                  <c:v>1115.01</c:v>
                </c:pt>
                <c:pt idx="2853">
                  <c:v>1113.8399999999999</c:v>
                </c:pt>
                <c:pt idx="2854">
                  <c:v>1106.1300000000001</c:v>
                </c:pt>
                <c:pt idx="2855">
                  <c:v>1101.53</c:v>
                </c:pt>
                <c:pt idx="2856">
                  <c:v>1101.5999999999999</c:v>
                </c:pt>
                <c:pt idx="2857">
                  <c:v>1125.8599999999999</c:v>
                </c:pt>
                <c:pt idx="2858">
                  <c:v>1120.46</c:v>
                </c:pt>
                <c:pt idx="2859">
                  <c:v>1127.24</c:v>
                </c:pt>
                <c:pt idx="2860">
                  <c:v>1125.81</c:v>
                </c:pt>
                <c:pt idx="2861">
                  <c:v>1121.6400000000001</c:v>
                </c:pt>
                <c:pt idx="2862">
                  <c:v>1127.79</c:v>
                </c:pt>
                <c:pt idx="2863">
                  <c:v>1121.06</c:v>
                </c:pt>
                <c:pt idx="2864">
                  <c:v>1089.47</c:v>
                </c:pt>
                <c:pt idx="2865">
                  <c:v>1083.6099999999999</c:v>
                </c:pt>
                <c:pt idx="2866">
                  <c:v>1079.25</c:v>
                </c:pt>
                <c:pt idx="2867">
                  <c:v>1079.3800000000001</c:v>
                </c:pt>
                <c:pt idx="2868">
                  <c:v>1092.54</c:v>
                </c:pt>
                <c:pt idx="2869">
                  <c:v>1094.1600000000001</c:v>
                </c:pt>
                <c:pt idx="2870">
                  <c:v>1075.6300000000001</c:v>
                </c:pt>
                <c:pt idx="2871">
                  <c:v>1071.69</c:v>
                </c:pt>
                <c:pt idx="2872">
                  <c:v>1067.3599999999999</c:v>
                </c:pt>
                <c:pt idx="2873">
                  <c:v>1051.8699999999999</c:v>
                </c:pt>
                <c:pt idx="2874">
                  <c:v>1055.33</c:v>
                </c:pt>
                <c:pt idx="2875">
                  <c:v>1047.22</c:v>
                </c:pt>
                <c:pt idx="2876">
                  <c:v>1064.5899999999999</c:v>
                </c:pt>
                <c:pt idx="2877">
                  <c:v>1048.92</c:v>
                </c:pt>
                <c:pt idx="2878">
                  <c:v>1049.33</c:v>
                </c:pt>
                <c:pt idx="2879">
                  <c:v>1080.29</c:v>
                </c:pt>
                <c:pt idx="2880">
                  <c:v>1090.0999999999999</c:v>
                </c:pt>
                <c:pt idx="2881">
                  <c:v>1104.51</c:v>
                </c:pt>
                <c:pt idx="2882">
                  <c:v>1104.51</c:v>
                </c:pt>
                <c:pt idx="2883">
                  <c:v>1091.8399999999999</c:v>
                </c:pt>
                <c:pt idx="2884">
                  <c:v>1098.8699999999999</c:v>
                </c:pt>
                <c:pt idx="2885">
                  <c:v>1104.18</c:v>
                </c:pt>
                <c:pt idx="2886">
                  <c:v>1109.55</c:v>
                </c:pt>
                <c:pt idx="2887">
                  <c:v>1121.9000000000001</c:v>
                </c:pt>
                <c:pt idx="2888">
                  <c:v>1121.0999999999999</c:v>
                </c:pt>
                <c:pt idx="2889">
                  <c:v>1125.07</c:v>
                </c:pt>
                <c:pt idx="2890">
                  <c:v>1124.6600000000001</c:v>
                </c:pt>
                <c:pt idx="2891">
                  <c:v>1125.5899999999999</c:v>
                </c:pt>
                <c:pt idx="2892">
                  <c:v>1142.71</c:v>
                </c:pt>
                <c:pt idx="2893">
                  <c:v>1139.78</c:v>
                </c:pt>
                <c:pt idx="2894">
                  <c:v>1134.28</c:v>
                </c:pt>
                <c:pt idx="2895">
                  <c:v>1124.83</c:v>
                </c:pt>
                <c:pt idx="2896">
                  <c:v>1148.67</c:v>
                </c:pt>
                <c:pt idx="2897">
                  <c:v>1142.1600000000001</c:v>
                </c:pt>
                <c:pt idx="2898">
                  <c:v>1147.7</c:v>
                </c:pt>
                <c:pt idx="2899">
                  <c:v>1144.73</c:v>
                </c:pt>
                <c:pt idx="2900">
                  <c:v>1141.2</c:v>
                </c:pt>
                <c:pt idx="2901">
                  <c:v>1146.24</c:v>
                </c:pt>
                <c:pt idx="2902">
                  <c:v>1137.03</c:v>
                </c:pt>
                <c:pt idx="2903">
                  <c:v>1160.75</c:v>
                </c:pt>
                <c:pt idx="2904">
                  <c:v>1159.97</c:v>
                </c:pt>
                <c:pt idx="2905">
                  <c:v>1158.06</c:v>
                </c:pt>
                <c:pt idx="2906">
                  <c:v>1165.1500000000001</c:v>
                </c:pt>
                <c:pt idx="2907">
                  <c:v>1165.32</c:v>
                </c:pt>
                <c:pt idx="2908">
                  <c:v>1169.77</c:v>
                </c:pt>
                <c:pt idx="2909">
                  <c:v>1178.0999999999999</c:v>
                </c:pt>
                <c:pt idx="2910">
                  <c:v>1173.81</c:v>
                </c:pt>
                <c:pt idx="2911">
                  <c:v>1176.19</c:v>
                </c:pt>
                <c:pt idx="2912">
                  <c:v>1184.71</c:v>
                </c:pt>
                <c:pt idx="2913">
                  <c:v>1165.9000000000001</c:v>
                </c:pt>
                <c:pt idx="2914">
                  <c:v>1178.17</c:v>
                </c:pt>
                <c:pt idx="2915">
                  <c:v>1180.26</c:v>
                </c:pt>
                <c:pt idx="2916">
                  <c:v>1183.08</c:v>
                </c:pt>
                <c:pt idx="2917">
                  <c:v>1185.6199999999999</c:v>
                </c:pt>
                <c:pt idx="2918">
                  <c:v>1185.6400000000001</c:v>
                </c:pt>
                <c:pt idx="2919">
                  <c:v>1182.45</c:v>
                </c:pt>
                <c:pt idx="2920">
                  <c:v>1183.78</c:v>
                </c:pt>
                <c:pt idx="2921">
                  <c:v>1183.26</c:v>
                </c:pt>
                <c:pt idx="2922">
                  <c:v>1184.3800000000001</c:v>
                </c:pt>
                <c:pt idx="2923">
                  <c:v>1193.57</c:v>
                </c:pt>
                <c:pt idx="2924">
                  <c:v>1197.96</c:v>
                </c:pt>
                <c:pt idx="2925">
                  <c:v>1221.06</c:v>
                </c:pt>
                <c:pt idx="2926">
                  <c:v>1225.8499999999999</c:v>
                </c:pt>
                <c:pt idx="2927">
                  <c:v>1223.25</c:v>
                </c:pt>
                <c:pt idx="2928">
                  <c:v>1213.4000000000001</c:v>
                </c:pt>
                <c:pt idx="2929">
                  <c:v>1218.71</c:v>
                </c:pt>
                <c:pt idx="2930">
                  <c:v>1213.54</c:v>
                </c:pt>
                <c:pt idx="2931">
                  <c:v>1199.21</c:v>
                </c:pt>
                <c:pt idx="2932">
                  <c:v>1197.75</c:v>
                </c:pt>
                <c:pt idx="2933">
                  <c:v>1178.3399999999999</c:v>
                </c:pt>
                <c:pt idx="2934">
                  <c:v>1178.5899999999999</c:v>
                </c:pt>
                <c:pt idx="2935">
                  <c:v>1196.69</c:v>
                </c:pt>
                <c:pt idx="2936">
                  <c:v>1199.73</c:v>
                </c:pt>
                <c:pt idx="2937">
                  <c:v>1197.8399999999999</c:v>
                </c:pt>
                <c:pt idx="2938">
                  <c:v>1180.73</c:v>
                </c:pt>
                <c:pt idx="2939">
                  <c:v>1198.3499999999999</c:v>
                </c:pt>
                <c:pt idx="2940">
                  <c:v>1198.3499999999999</c:v>
                </c:pt>
                <c:pt idx="2941">
                  <c:v>1189.4000000000001</c:v>
                </c:pt>
                <c:pt idx="2942">
                  <c:v>1187.76</c:v>
                </c:pt>
                <c:pt idx="2943">
                  <c:v>1180.55</c:v>
                </c:pt>
                <c:pt idx="2944">
                  <c:v>1206.07</c:v>
                </c:pt>
                <c:pt idx="2945">
                  <c:v>1221.53</c:v>
                </c:pt>
                <c:pt idx="2946">
                  <c:v>1224.71</c:v>
                </c:pt>
                <c:pt idx="2947">
                  <c:v>1223.1199999999999</c:v>
                </c:pt>
                <c:pt idx="2948">
                  <c:v>1223.75</c:v>
                </c:pt>
                <c:pt idx="2949">
                  <c:v>1228.28</c:v>
                </c:pt>
                <c:pt idx="2950">
                  <c:v>1233</c:v>
                </c:pt>
                <c:pt idx="2951">
                  <c:v>1240.4000000000001</c:v>
                </c:pt>
                <c:pt idx="2952">
                  <c:v>1240.46</c:v>
                </c:pt>
                <c:pt idx="2953">
                  <c:v>1241.5899999999999</c:v>
                </c:pt>
                <c:pt idx="2954">
                  <c:v>1235.23</c:v>
                </c:pt>
                <c:pt idx="2955">
                  <c:v>1242.8699999999999</c:v>
                </c:pt>
                <c:pt idx="2956">
                  <c:v>1243.9100000000001</c:v>
                </c:pt>
                <c:pt idx="2957">
                  <c:v>1247.08</c:v>
                </c:pt>
                <c:pt idx="2958">
                  <c:v>1254.5999999999999</c:v>
                </c:pt>
                <c:pt idx="2959">
                  <c:v>1258.8399999999999</c:v>
                </c:pt>
                <c:pt idx="2960">
                  <c:v>1256.77</c:v>
                </c:pt>
                <c:pt idx="2961">
                  <c:v>1256.77</c:v>
                </c:pt>
                <c:pt idx="2962">
                  <c:v>1257.54</c:v>
                </c:pt>
                <c:pt idx="2963">
                  <c:v>1258.51</c:v>
                </c:pt>
                <c:pt idx="2964">
                  <c:v>1259.78</c:v>
                </c:pt>
                <c:pt idx="2965">
                  <c:v>1257.8800000000001</c:v>
                </c:pt>
                <c:pt idx="2966">
                  <c:v>1257.6400000000001</c:v>
                </c:pt>
                <c:pt idx="2967">
                  <c:v>1271.8699999999999</c:v>
                </c:pt>
                <c:pt idx="2968">
                  <c:v>1270.2</c:v>
                </c:pt>
                <c:pt idx="2969">
                  <c:v>1276.56</c:v>
                </c:pt>
                <c:pt idx="2970">
                  <c:v>1273.8499999999999</c:v>
                </c:pt>
                <c:pt idx="2971">
                  <c:v>1271.5</c:v>
                </c:pt>
                <c:pt idx="2972">
                  <c:v>1269.75</c:v>
                </c:pt>
                <c:pt idx="2973">
                  <c:v>1274.48</c:v>
                </c:pt>
                <c:pt idx="2974">
                  <c:v>1285.96</c:v>
                </c:pt>
                <c:pt idx="2975">
                  <c:v>1283.76</c:v>
                </c:pt>
                <c:pt idx="2976">
                  <c:v>1293.24</c:v>
                </c:pt>
                <c:pt idx="2977">
                  <c:v>1293.24</c:v>
                </c:pt>
                <c:pt idx="2978">
                  <c:v>1295.02</c:v>
                </c:pt>
                <c:pt idx="2979">
                  <c:v>1281.92</c:v>
                </c:pt>
                <c:pt idx="2980">
                  <c:v>1280.26</c:v>
                </c:pt>
                <c:pt idx="2981">
                  <c:v>1283.3499999999999</c:v>
                </c:pt>
                <c:pt idx="2982">
                  <c:v>1290.8399999999999</c:v>
                </c:pt>
                <c:pt idx="2983">
                  <c:v>1291.18</c:v>
                </c:pt>
                <c:pt idx="2984">
                  <c:v>1296.6300000000001</c:v>
                </c:pt>
                <c:pt idx="2985">
                  <c:v>1299.54</c:v>
                </c:pt>
                <c:pt idx="2986">
                  <c:v>1276.3399999999999</c:v>
                </c:pt>
                <c:pt idx="2987">
                  <c:v>1286.1199999999999</c:v>
                </c:pt>
                <c:pt idx="2988">
                  <c:v>1307.5899999999999</c:v>
                </c:pt>
                <c:pt idx="2989">
                  <c:v>1304.03</c:v>
                </c:pt>
                <c:pt idx="2990">
                  <c:v>1307.0999999999999</c:v>
                </c:pt>
                <c:pt idx="2991">
                  <c:v>1310.87</c:v>
                </c:pt>
                <c:pt idx="2992">
                  <c:v>1319.05</c:v>
                </c:pt>
                <c:pt idx="2993">
                  <c:v>1324.57</c:v>
                </c:pt>
                <c:pt idx="2994">
                  <c:v>1320.88</c:v>
                </c:pt>
                <c:pt idx="2995">
                  <c:v>1321.87</c:v>
                </c:pt>
                <c:pt idx="2996">
                  <c:v>1329.15</c:v>
                </c:pt>
                <c:pt idx="2997">
                  <c:v>1332.32</c:v>
                </c:pt>
                <c:pt idx="2998">
                  <c:v>1328.01</c:v>
                </c:pt>
                <c:pt idx="2999">
                  <c:v>1336.32</c:v>
                </c:pt>
                <c:pt idx="3000">
                  <c:v>1340.43</c:v>
                </c:pt>
                <c:pt idx="3001">
                  <c:v>1343.01</c:v>
                </c:pt>
                <c:pt idx="3002">
                  <c:v>1343.01</c:v>
                </c:pt>
                <c:pt idx="3003">
                  <c:v>1315.44</c:v>
                </c:pt>
                <c:pt idx="3004">
                  <c:v>1307.4000000000001</c:v>
                </c:pt>
                <c:pt idx="3005">
                  <c:v>1306.0999999999999</c:v>
                </c:pt>
                <c:pt idx="3006">
                  <c:v>1319.88</c:v>
                </c:pt>
                <c:pt idx="3007">
                  <c:v>1327.22</c:v>
                </c:pt>
                <c:pt idx="3008">
                  <c:v>1306.33</c:v>
                </c:pt>
                <c:pt idx="3009">
                  <c:v>1308.44</c:v>
                </c:pt>
                <c:pt idx="3010">
                  <c:v>1330.97</c:v>
                </c:pt>
                <c:pt idx="3011">
                  <c:v>1321.15</c:v>
                </c:pt>
                <c:pt idx="3012">
                  <c:v>1310.1300000000001</c:v>
                </c:pt>
                <c:pt idx="3013">
                  <c:v>1321.82</c:v>
                </c:pt>
                <c:pt idx="3014">
                  <c:v>1320.02</c:v>
                </c:pt>
                <c:pt idx="3015">
                  <c:v>1295.1099999999999</c:v>
                </c:pt>
                <c:pt idx="3016">
                  <c:v>1304.28</c:v>
                </c:pt>
                <c:pt idx="3017">
                  <c:v>1296.3900000000001</c:v>
                </c:pt>
                <c:pt idx="3018">
                  <c:v>1281.8699999999999</c:v>
                </c:pt>
                <c:pt idx="3019">
                  <c:v>1256.8800000000001</c:v>
                </c:pt>
                <c:pt idx="3020">
                  <c:v>1273.72</c:v>
                </c:pt>
                <c:pt idx="3021">
                  <c:v>1279.2</c:v>
                </c:pt>
                <c:pt idx="3022">
                  <c:v>1298.3800000000001</c:v>
                </c:pt>
                <c:pt idx="3023">
                  <c:v>1293.77</c:v>
                </c:pt>
                <c:pt idx="3024">
                  <c:v>1297.54</c:v>
                </c:pt>
                <c:pt idx="3025">
                  <c:v>1309.6600000000001</c:v>
                </c:pt>
                <c:pt idx="3026">
                  <c:v>1313.8</c:v>
                </c:pt>
                <c:pt idx="3027">
                  <c:v>1310.19</c:v>
                </c:pt>
                <c:pt idx="3028">
                  <c:v>1319.44</c:v>
                </c:pt>
                <c:pt idx="3029">
                  <c:v>1328.26</c:v>
                </c:pt>
                <c:pt idx="3030">
                  <c:v>1325.83</c:v>
                </c:pt>
                <c:pt idx="3031">
                  <c:v>1332.41</c:v>
                </c:pt>
                <c:pt idx="3032">
                  <c:v>1332.87</c:v>
                </c:pt>
                <c:pt idx="3033">
                  <c:v>1332.63</c:v>
                </c:pt>
                <c:pt idx="3034">
                  <c:v>1335.54</c:v>
                </c:pt>
                <c:pt idx="3035">
                  <c:v>1333.51</c:v>
                </c:pt>
                <c:pt idx="3036">
                  <c:v>1328.17</c:v>
                </c:pt>
                <c:pt idx="3037">
                  <c:v>1324.46</c:v>
                </c:pt>
                <c:pt idx="3038">
                  <c:v>1314.16</c:v>
                </c:pt>
                <c:pt idx="3039">
                  <c:v>1314.41</c:v>
                </c:pt>
                <c:pt idx="3040">
                  <c:v>1314.52</c:v>
                </c:pt>
                <c:pt idx="3041">
                  <c:v>1319.68</c:v>
                </c:pt>
                <c:pt idx="3042">
                  <c:v>1305.1400000000001</c:v>
                </c:pt>
                <c:pt idx="3043">
                  <c:v>1312.62</c:v>
                </c:pt>
                <c:pt idx="3044">
                  <c:v>1330.36</c:v>
                </c:pt>
                <c:pt idx="3045">
                  <c:v>1337.38</c:v>
                </c:pt>
                <c:pt idx="3046">
                  <c:v>1337.38</c:v>
                </c:pt>
                <c:pt idx="3047">
                  <c:v>1335.25</c:v>
                </c:pt>
                <c:pt idx="3048">
                  <c:v>1347.24</c:v>
                </c:pt>
                <c:pt idx="3049">
                  <c:v>1355.66</c:v>
                </c:pt>
                <c:pt idx="3050">
                  <c:v>1360.48</c:v>
                </c:pt>
                <c:pt idx="3051">
                  <c:v>1363.61</c:v>
                </c:pt>
                <c:pt idx="3052">
                  <c:v>1361.22</c:v>
                </c:pt>
                <c:pt idx="3053">
                  <c:v>1356.62</c:v>
                </c:pt>
                <c:pt idx="3054">
                  <c:v>1347.32</c:v>
                </c:pt>
                <c:pt idx="3055">
                  <c:v>1335.1</c:v>
                </c:pt>
                <c:pt idx="3056">
                  <c:v>1340.2</c:v>
                </c:pt>
                <c:pt idx="3057">
                  <c:v>1346.29</c:v>
                </c:pt>
                <c:pt idx="3058">
                  <c:v>1357.16</c:v>
                </c:pt>
                <c:pt idx="3059">
                  <c:v>1342.08</c:v>
                </c:pt>
                <c:pt idx="3060">
                  <c:v>1348.65</c:v>
                </c:pt>
                <c:pt idx="3061">
                  <c:v>1337.77</c:v>
                </c:pt>
                <c:pt idx="3062">
                  <c:v>1329.47</c:v>
                </c:pt>
                <c:pt idx="3063">
                  <c:v>1328.98</c:v>
                </c:pt>
                <c:pt idx="3064">
                  <c:v>1340.68</c:v>
                </c:pt>
                <c:pt idx="3065">
                  <c:v>1343.6</c:v>
                </c:pt>
                <c:pt idx="3066">
                  <c:v>1333.27</c:v>
                </c:pt>
                <c:pt idx="3067">
                  <c:v>1317.37</c:v>
                </c:pt>
                <c:pt idx="3068">
                  <c:v>1316.28</c:v>
                </c:pt>
                <c:pt idx="3069">
                  <c:v>1320.47</c:v>
                </c:pt>
                <c:pt idx="3070">
                  <c:v>1325.69</c:v>
                </c:pt>
                <c:pt idx="3071">
                  <c:v>1331.1</c:v>
                </c:pt>
                <c:pt idx="3072">
                  <c:v>1331.1</c:v>
                </c:pt>
                <c:pt idx="3073">
                  <c:v>1345.2</c:v>
                </c:pt>
                <c:pt idx="3074">
                  <c:v>1314.55</c:v>
                </c:pt>
                <c:pt idx="3075">
                  <c:v>1312.94</c:v>
                </c:pt>
                <c:pt idx="3076">
                  <c:v>1300.1600000000001</c:v>
                </c:pt>
                <c:pt idx="3077">
                  <c:v>1286.17</c:v>
                </c:pt>
                <c:pt idx="3078">
                  <c:v>1284.94</c:v>
                </c:pt>
                <c:pt idx="3079">
                  <c:v>1279.56</c:v>
                </c:pt>
                <c:pt idx="3080">
                  <c:v>1289</c:v>
                </c:pt>
                <c:pt idx="3081">
                  <c:v>1270.98</c:v>
                </c:pt>
                <c:pt idx="3082">
                  <c:v>1271.83</c:v>
                </c:pt>
                <c:pt idx="3083">
                  <c:v>1287.8699999999999</c:v>
                </c:pt>
                <c:pt idx="3084">
                  <c:v>1265.42</c:v>
                </c:pt>
                <c:pt idx="3085">
                  <c:v>1267.6400000000001</c:v>
                </c:pt>
                <c:pt idx="3086">
                  <c:v>1271.5</c:v>
                </c:pt>
                <c:pt idx="3087">
                  <c:v>1278.3599999999999</c:v>
                </c:pt>
                <c:pt idx="3088">
                  <c:v>1295.52</c:v>
                </c:pt>
                <c:pt idx="3089">
                  <c:v>1287.1400000000001</c:v>
                </c:pt>
                <c:pt idx="3090">
                  <c:v>1283.5</c:v>
                </c:pt>
                <c:pt idx="3091">
                  <c:v>1268.45</c:v>
                </c:pt>
                <c:pt idx="3092">
                  <c:v>1280.0999999999999</c:v>
                </c:pt>
                <c:pt idx="3093">
                  <c:v>1296.67</c:v>
                </c:pt>
                <c:pt idx="3094">
                  <c:v>1307.4100000000001</c:v>
                </c:pt>
                <c:pt idx="3095">
                  <c:v>1320.64</c:v>
                </c:pt>
                <c:pt idx="3096">
                  <c:v>1339.67</c:v>
                </c:pt>
                <c:pt idx="3097">
                  <c:v>1339.67</c:v>
                </c:pt>
                <c:pt idx="3098">
                  <c:v>1337.88</c:v>
                </c:pt>
                <c:pt idx="3099">
                  <c:v>1339.22</c:v>
                </c:pt>
                <c:pt idx="3100">
                  <c:v>1353.22</c:v>
                </c:pt>
                <c:pt idx="3101">
                  <c:v>1343.8</c:v>
                </c:pt>
                <c:pt idx="3102">
                  <c:v>1319.49</c:v>
                </c:pt>
                <c:pt idx="3103">
                  <c:v>1313.64</c:v>
                </c:pt>
                <c:pt idx="3104">
                  <c:v>1317.72</c:v>
                </c:pt>
                <c:pt idx="3105">
                  <c:v>1308.8699999999999</c:v>
                </c:pt>
                <c:pt idx="3106">
                  <c:v>1316.14</c:v>
                </c:pt>
                <c:pt idx="3107">
                  <c:v>1305.44</c:v>
                </c:pt>
                <c:pt idx="3108">
                  <c:v>1326.73</c:v>
                </c:pt>
                <c:pt idx="3109">
                  <c:v>1325.84</c:v>
                </c:pt>
                <c:pt idx="3110">
                  <c:v>1343.8</c:v>
                </c:pt>
                <c:pt idx="3111">
                  <c:v>1345.02</c:v>
                </c:pt>
                <c:pt idx="3112">
                  <c:v>1337.43</c:v>
                </c:pt>
                <c:pt idx="3113">
                  <c:v>1331.94</c:v>
                </c:pt>
                <c:pt idx="3114">
                  <c:v>1304.8900000000001</c:v>
                </c:pt>
                <c:pt idx="3115">
                  <c:v>1300.67</c:v>
                </c:pt>
                <c:pt idx="3116">
                  <c:v>1292.28</c:v>
                </c:pt>
                <c:pt idx="3117">
                  <c:v>1286.94</c:v>
                </c:pt>
                <c:pt idx="3118">
                  <c:v>1254.05</c:v>
                </c:pt>
                <c:pt idx="3119">
                  <c:v>1260.3399999999999</c:v>
                </c:pt>
                <c:pt idx="3120">
                  <c:v>1200.07</c:v>
                </c:pt>
                <c:pt idx="3121">
                  <c:v>1199.3800000000001</c:v>
                </c:pt>
                <c:pt idx="3122">
                  <c:v>1119.46</c:v>
                </c:pt>
                <c:pt idx="3123">
                  <c:v>1172.53</c:v>
                </c:pt>
                <c:pt idx="3124">
                  <c:v>1120.76</c:v>
                </c:pt>
                <c:pt idx="3125">
                  <c:v>1172.6400000000001</c:v>
                </c:pt>
                <c:pt idx="3126">
                  <c:v>1178.81</c:v>
                </c:pt>
                <c:pt idx="3127">
                  <c:v>1204.49</c:v>
                </c:pt>
                <c:pt idx="3128">
                  <c:v>1192.76</c:v>
                </c:pt>
                <c:pt idx="3129">
                  <c:v>1193.8900000000001</c:v>
                </c:pt>
                <c:pt idx="3130">
                  <c:v>1140.6500000000001</c:v>
                </c:pt>
                <c:pt idx="3131">
                  <c:v>1123.53</c:v>
                </c:pt>
                <c:pt idx="3132">
                  <c:v>1123.82</c:v>
                </c:pt>
                <c:pt idx="3133">
                  <c:v>1162.3499999999999</c:v>
                </c:pt>
                <c:pt idx="3134">
                  <c:v>1177.5999999999999</c:v>
                </c:pt>
                <c:pt idx="3135">
                  <c:v>1159.27</c:v>
                </c:pt>
                <c:pt idx="3136">
                  <c:v>1176.8</c:v>
                </c:pt>
                <c:pt idx="3137">
                  <c:v>1210.08</c:v>
                </c:pt>
                <c:pt idx="3138">
                  <c:v>1212.92</c:v>
                </c:pt>
                <c:pt idx="3139">
                  <c:v>1218.8900000000001</c:v>
                </c:pt>
                <c:pt idx="3140">
                  <c:v>1204.42</c:v>
                </c:pt>
                <c:pt idx="3141">
                  <c:v>1173.97</c:v>
                </c:pt>
                <c:pt idx="3142">
                  <c:v>1173.97</c:v>
                </c:pt>
                <c:pt idx="3143">
                  <c:v>1165.24</c:v>
                </c:pt>
                <c:pt idx="3144">
                  <c:v>1198.6199999999999</c:v>
                </c:pt>
                <c:pt idx="3145">
                  <c:v>1185.9000000000001</c:v>
                </c:pt>
                <c:pt idx="3146">
                  <c:v>1154.23</c:v>
                </c:pt>
                <c:pt idx="3147">
                  <c:v>1162.27</c:v>
                </c:pt>
                <c:pt idx="3148">
                  <c:v>1172.8699999999999</c:v>
                </c:pt>
                <c:pt idx="3149">
                  <c:v>1188.68</c:v>
                </c:pt>
                <c:pt idx="3150">
                  <c:v>1209.1099999999999</c:v>
                </c:pt>
                <c:pt idx="3151">
                  <c:v>1216.01</c:v>
                </c:pt>
                <c:pt idx="3152">
                  <c:v>1204.0899999999999</c:v>
                </c:pt>
                <c:pt idx="3153">
                  <c:v>1202.0899999999999</c:v>
                </c:pt>
                <c:pt idx="3154">
                  <c:v>1166.76</c:v>
                </c:pt>
                <c:pt idx="3155">
                  <c:v>1129.56</c:v>
                </c:pt>
                <c:pt idx="3156">
                  <c:v>1136.43</c:v>
                </c:pt>
                <c:pt idx="3157">
                  <c:v>1162.95</c:v>
                </c:pt>
                <c:pt idx="3158">
                  <c:v>1175.3800000000001</c:v>
                </c:pt>
                <c:pt idx="3159">
                  <c:v>1151.06</c:v>
                </c:pt>
                <c:pt idx="3160">
                  <c:v>1160.4000000000001</c:v>
                </c:pt>
                <c:pt idx="3161">
                  <c:v>1131.42</c:v>
                </c:pt>
                <c:pt idx="3162">
                  <c:v>1099.23</c:v>
                </c:pt>
                <c:pt idx="3163">
                  <c:v>1123.95</c:v>
                </c:pt>
                <c:pt idx="3164">
                  <c:v>1144.03</c:v>
                </c:pt>
                <c:pt idx="3165">
                  <c:v>1164.97</c:v>
                </c:pt>
                <c:pt idx="3166">
                  <c:v>1155.46</c:v>
                </c:pt>
                <c:pt idx="3167">
                  <c:v>1194.8900000000001</c:v>
                </c:pt>
                <c:pt idx="3168">
                  <c:v>1195.54</c:v>
                </c:pt>
                <c:pt idx="3169">
                  <c:v>1207.25</c:v>
                </c:pt>
                <c:pt idx="3170">
                  <c:v>1203.6600000000001</c:v>
                </c:pt>
                <c:pt idx="3171">
                  <c:v>1224.58</c:v>
                </c:pt>
                <c:pt idx="3172">
                  <c:v>1200.8599999999999</c:v>
                </c:pt>
                <c:pt idx="3173">
                  <c:v>1225.3800000000001</c:v>
                </c:pt>
                <c:pt idx="3174">
                  <c:v>1209.8800000000001</c:v>
                </c:pt>
                <c:pt idx="3175">
                  <c:v>1215.3900000000001</c:v>
                </c:pt>
                <c:pt idx="3176">
                  <c:v>1238.25</c:v>
                </c:pt>
                <c:pt idx="3177">
                  <c:v>1254.19</c:v>
                </c:pt>
                <c:pt idx="3178">
                  <c:v>1229.05</c:v>
                </c:pt>
                <c:pt idx="3179">
                  <c:v>1242</c:v>
                </c:pt>
                <c:pt idx="3180">
                  <c:v>1284.5899999999999</c:v>
                </c:pt>
                <c:pt idx="3181">
                  <c:v>1285.0899999999999</c:v>
                </c:pt>
                <c:pt idx="3182">
                  <c:v>1253.3</c:v>
                </c:pt>
                <c:pt idx="3183">
                  <c:v>1218.28</c:v>
                </c:pt>
                <c:pt idx="3184">
                  <c:v>1237.9000000000001</c:v>
                </c:pt>
                <c:pt idx="3185">
                  <c:v>1261.1500000000001</c:v>
                </c:pt>
                <c:pt idx="3186">
                  <c:v>1253.23</c:v>
                </c:pt>
                <c:pt idx="3187">
                  <c:v>1261.1199999999999</c:v>
                </c:pt>
                <c:pt idx="3188">
                  <c:v>1275.92</c:v>
                </c:pt>
                <c:pt idx="3189">
                  <c:v>1229.0999999999999</c:v>
                </c:pt>
                <c:pt idx="3190">
                  <c:v>1239.69</c:v>
                </c:pt>
                <c:pt idx="3191">
                  <c:v>1263.8499999999999</c:v>
                </c:pt>
                <c:pt idx="3192">
                  <c:v>1251.78</c:v>
                </c:pt>
                <c:pt idx="3193">
                  <c:v>1257.81</c:v>
                </c:pt>
                <c:pt idx="3194">
                  <c:v>1236.9100000000001</c:v>
                </c:pt>
                <c:pt idx="3195">
                  <c:v>1216.1300000000001</c:v>
                </c:pt>
                <c:pt idx="3196">
                  <c:v>1215.6500000000001</c:v>
                </c:pt>
                <c:pt idx="3197">
                  <c:v>1192.98</c:v>
                </c:pt>
                <c:pt idx="3198">
                  <c:v>1188.04</c:v>
                </c:pt>
                <c:pt idx="3199">
                  <c:v>1161.79</c:v>
                </c:pt>
                <c:pt idx="3200">
                  <c:v>1161.79</c:v>
                </c:pt>
                <c:pt idx="3201">
                  <c:v>1158.67</c:v>
                </c:pt>
                <c:pt idx="3202">
                  <c:v>1192.55</c:v>
                </c:pt>
                <c:pt idx="3203">
                  <c:v>1195.19</c:v>
                </c:pt>
                <c:pt idx="3204">
                  <c:v>1246.96</c:v>
                </c:pt>
                <c:pt idx="3205">
                  <c:v>1244.58</c:v>
                </c:pt>
                <c:pt idx="3206">
                  <c:v>1244.28</c:v>
                </c:pt>
                <c:pt idx="3207">
                  <c:v>1257.08</c:v>
                </c:pt>
                <c:pt idx="3208">
                  <c:v>1258.47</c:v>
                </c:pt>
                <c:pt idx="3209">
                  <c:v>1261.01</c:v>
                </c:pt>
                <c:pt idx="3210">
                  <c:v>1234.3499999999999</c:v>
                </c:pt>
                <c:pt idx="3211">
                  <c:v>1255.19</c:v>
                </c:pt>
                <c:pt idx="3212">
                  <c:v>1236.47</c:v>
                </c:pt>
                <c:pt idx="3213">
                  <c:v>1225.73</c:v>
                </c:pt>
                <c:pt idx="3214">
                  <c:v>1211.82</c:v>
                </c:pt>
                <c:pt idx="3215">
                  <c:v>1215.75</c:v>
                </c:pt>
                <c:pt idx="3216">
                  <c:v>1219.6600000000001</c:v>
                </c:pt>
                <c:pt idx="3217">
                  <c:v>1205.3499999999999</c:v>
                </c:pt>
                <c:pt idx="3218">
                  <c:v>1241.3</c:v>
                </c:pt>
                <c:pt idx="3219">
                  <c:v>1243.72</c:v>
                </c:pt>
                <c:pt idx="3220">
                  <c:v>1254</c:v>
                </c:pt>
                <c:pt idx="3221">
                  <c:v>1265.33</c:v>
                </c:pt>
                <c:pt idx="3222">
                  <c:v>1265.33</c:v>
                </c:pt>
                <c:pt idx="3223">
                  <c:v>1265.43</c:v>
                </c:pt>
                <c:pt idx="3224">
                  <c:v>1249.6400000000001</c:v>
                </c:pt>
                <c:pt idx="3225">
                  <c:v>1263.02</c:v>
                </c:pt>
                <c:pt idx="3226">
                  <c:v>1257.5999999999999</c:v>
                </c:pt>
                <c:pt idx="3227">
                  <c:v>1257.5999999999999</c:v>
                </c:pt>
                <c:pt idx="3228">
                  <c:v>1277.06</c:v>
                </c:pt>
                <c:pt idx="3229">
                  <c:v>1277.3</c:v>
                </c:pt>
                <c:pt idx="3230">
                  <c:v>1281.06</c:v>
                </c:pt>
                <c:pt idx="3231">
                  <c:v>1277.81</c:v>
                </c:pt>
                <c:pt idx="3232">
                  <c:v>1280.7</c:v>
                </c:pt>
                <c:pt idx="3233">
                  <c:v>1292.08</c:v>
                </c:pt>
                <c:pt idx="3234">
                  <c:v>1292.48</c:v>
                </c:pt>
                <c:pt idx="3235">
                  <c:v>1295.5</c:v>
                </c:pt>
                <c:pt idx="3236">
                  <c:v>1289.0899999999999</c:v>
                </c:pt>
                <c:pt idx="3237">
                  <c:v>1289.0899999999999</c:v>
                </c:pt>
                <c:pt idx="3238">
                  <c:v>1293.67</c:v>
                </c:pt>
                <c:pt idx="3239">
                  <c:v>1308.04</c:v>
                </c:pt>
                <c:pt idx="3240">
                  <c:v>1314.5</c:v>
                </c:pt>
                <c:pt idx="3241">
                  <c:v>1315.38</c:v>
                </c:pt>
                <c:pt idx="3242">
                  <c:v>1316</c:v>
                </c:pt>
                <c:pt idx="3243">
                  <c:v>1314.65</c:v>
                </c:pt>
                <c:pt idx="3244">
                  <c:v>1326.05</c:v>
                </c:pt>
                <c:pt idx="3245">
                  <c:v>1318.43</c:v>
                </c:pt>
                <c:pt idx="3246">
                  <c:v>1316.33</c:v>
                </c:pt>
                <c:pt idx="3247">
                  <c:v>1313.01</c:v>
                </c:pt>
                <c:pt idx="3248">
                  <c:v>1312.41</c:v>
                </c:pt>
                <c:pt idx="3249">
                  <c:v>1324.09</c:v>
                </c:pt>
                <c:pt idx="3250">
                  <c:v>1325.54</c:v>
                </c:pt>
                <c:pt idx="3251">
                  <c:v>1344.9</c:v>
                </c:pt>
                <c:pt idx="3252">
                  <c:v>1344.33</c:v>
                </c:pt>
                <c:pt idx="3253">
                  <c:v>1347.05</c:v>
                </c:pt>
                <c:pt idx="3254">
                  <c:v>1349.96</c:v>
                </c:pt>
                <c:pt idx="3255">
                  <c:v>1351.95</c:v>
                </c:pt>
                <c:pt idx="3256">
                  <c:v>1342.64</c:v>
                </c:pt>
                <c:pt idx="3257">
                  <c:v>1351.77</c:v>
                </c:pt>
                <c:pt idx="3258">
                  <c:v>1350.5</c:v>
                </c:pt>
                <c:pt idx="3259">
                  <c:v>1343.23</c:v>
                </c:pt>
                <c:pt idx="3260">
                  <c:v>1358.04</c:v>
                </c:pt>
                <c:pt idx="3261">
                  <c:v>1361.23</c:v>
                </c:pt>
                <c:pt idx="3262">
                  <c:v>1361.23</c:v>
                </c:pt>
                <c:pt idx="3263">
                  <c:v>1362.21</c:v>
                </c:pt>
                <c:pt idx="3264">
                  <c:v>1357.66</c:v>
                </c:pt>
                <c:pt idx="3265">
                  <c:v>1363.46</c:v>
                </c:pt>
                <c:pt idx="3266">
                  <c:v>1365.74</c:v>
                </c:pt>
                <c:pt idx="3267">
                  <c:v>1367.59</c:v>
                </c:pt>
                <c:pt idx="3268">
                  <c:v>1372.18</c:v>
                </c:pt>
                <c:pt idx="3269">
                  <c:v>1365.68</c:v>
                </c:pt>
                <c:pt idx="3270">
                  <c:v>1374.09</c:v>
                </c:pt>
                <c:pt idx="3271">
                  <c:v>1369.63</c:v>
                </c:pt>
                <c:pt idx="3272">
                  <c:v>1364.33</c:v>
                </c:pt>
                <c:pt idx="3273">
                  <c:v>1343.36</c:v>
                </c:pt>
                <c:pt idx="3274">
                  <c:v>1352.63</c:v>
                </c:pt>
                <c:pt idx="3275">
                  <c:v>1365.91</c:v>
                </c:pt>
                <c:pt idx="3276">
                  <c:v>1370.87</c:v>
                </c:pt>
                <c:pt idx="3277">
                  <c:v>1371.09</c:v>
                </c:pt>
                <c:pt idx="3278">
                  <c:v>1395.95</c:v>
                </c:pt>
                <c:pt idx="3279">
                  <c:v>1394.28</c:v>
                </c:pt>
                <c:pt idx="3280">
                  <c:v>1402.6</c:v>
                </c:pt>
                <c:pt idx="3281">
                  <c:v>1404.17</c:v>
                </c:pt>
                <c:pt idx="3282">
                  <c:v>1409.75</c:v>
                </c:pt>
                <c:pt idx="3283">
                  <c:v>1405.52</c:v>
                </c:pt>
                <c:pt idx="3284">
                  <c:v>1402.89</c:v>
                </c:pt>
                <c:pt idx="3285">
                  <c:v>1392.78</c:v>
                </c:pt>
                <c:pt idx="3286">
                  <c:v>1397.11</c:v>
                </c:pt>
                <c:pt idx="3287">
                  <c:v>1416.51</c:v>
                </c:pt>
                <c:pt idx="3288">
                  <c:v>1412.52</c:v>
                </c:pt>
                <c:pt idx="3289">
                  <c:v>1405.54</c:v>
                </c:pt>
                <c:pt idx="3290">
                  <c:v>1403.28</c:v>
                </c:pt>
                <c:pt idx="3291">
                  <c:v>1408.47</c:v>
                </c:pt>
                <c:pt idx="3292">
                  <c:v>1419.04</c:v>
                </c:pt>
                <c:pt idx="3293">
                  <c:v>1413.38</c:v>
                </c:pt>
                <c:pt idx="3294">
                  <c:v>1398.96</c:v>
                </c:pt>
                <c:pt idx="3295">
                  <c:v>1398.08</c:v>
                </c:pt>
                <c:pt idx="3296">
                  <c:v>1398.08</c:v>
                </c:pt>
                <c:pt idx="3297">
                  <c:v>1382.2</c:v>
                </c:pt>
                <c:pt idx="3298">
                  <c:v>1358.59</c:v>
                </c:pt>
                <c:pt idx="3299">
                  <c:v>1368.71</c:v>
                </c:pt>
                <c:pt idx="3300">
                  <c:v>1387.57</c:v>
                </c:pt>
                <c:pt idx="3301">
                  <c:v>1370.26</c:v>
                </c:pt>
                <c:pt idx="3302">
                  <c:v>1369.57</c:v>
                </c:pt>
                <c:pt idx="3303">
                  <c:v>1390.78</c:v>
                </c:pt>
                <c:pt idx="3304">
                  <c:v>1385.14</c:v>
                </c:pt>
                <c:pt idx="3305">
                  <c:v>1376.92</c:v>
                </c:pt>
                <c:pt idx="3306">
                  <c:v>1378.53</c:v>
                </c:pt>
                <c:pt idx="3307">
                  <c:v>1366.94</c:v>
                </c:pt>
                <c:pt idx="3308">
                  <c:v>1371.97</c:v>
                </c:pt>
                <c:pt idx="3309">
                  <c:v>1390.69</c:v>
                </c:pt>
                <c:pt idx="3310">
                  <c:v>1399.98</c:v>
                </c:pt>
                <c:pt idx="3311">
                  <c:v>1403.36</c:v>
                </c:pt>
                <c:pt idx="3312">
                  <c:v>1397.91</c:v>
                </c:pt>
                <c:pt idx="3313">
                  <c:v>1405.82</c:v>
                </c:pt>
                <c:pt idx="3314">
                  <c:v>1402.31</c:v>
                </c:pt>
                <c:pt idx="3315">
                  <c:v>1391.57</c:v>
                </c:pt>
                <c:pt idx="3316">
                  <c:v>1369.1</c:v>
                </c:pt>
                <c:pt idx="3317">
                  <c:v>1369.58</c:v>
                </c:pt>
                <c:pt idx="3318">
                  <c:v>1363.72</c:v>
                </c:pt>
                <c:pt idx="3319">
                  <c:v>1354.58</c:v>
                </c:pt>
                <c:pt idx="3320">
                  <c:v>1357.99</c:v>
                </c:pt>
                <c:pt idx="3321">
                  <c:v>1353.39</c:v>
                </c:pt>
                <c:pt idx="3322">
                  <c:v>1338.35</c:v>
                </c:pt>
                <c:pt idx="3323">
                  <c:v>1330.66</c:v>
                </c:pt>
                <c:pt idx="3324">
                  <c:v>1324.8</c:v>
                </c:pt>
                <c:pt idx="3325">
                  <c:v>1304.8599999999999</c:v>
                </c:pt>
                <c:pt idx="3326">
                  <c:v>1295.22</c:v>
                </c:pt>
                <c:pt idx="3327">
                  <c:v>1315.99</c:v>
                </c:pt>
                <c:pt idx="3328">
                  <c:v>1316.63</c:v>
                </c:pt>
                <c:pt idx="3329">
                  <c:v>1318.86</c:v>
                </c:pt>
                <c:pt idx="3330">
                  <c:v>1320.68</c:v>
                </c:pt>
                <c:pt idx="3331">
                  <c:v>1317.82</c:v>
                </c:pt>
                <c:pt idx="3332">
                  <c:v>1317.82</c:v>
                </c:pt>
                <c:pt idx="3333">
                  <c:v>1332.42</c:v>
                </c:pt>
                <c:pt idx="3334">
                  <c:v>1313.32</c:v>
                </c:pt>
                <c:pt idx="3335">
                  <c:v>1310.33</c:v>
                </c:pt>
                <c:pt idx="3336">
                  <c:v>1278.04</c:v>
                </c:pt>
                <c:pt idx="3337">
                  <c:v>1278.18</c:v>
                </c:pt>
                <c:pt idx="3338">
                  <c:v>1285.5</c:v>
                </c:pt>
                <c:pt idx="3339">
                  <c:v>1315.13</c:v>
                </c:pt>
                <c:pt idx="3340">
                  <c:v>1314.99</c:v>
                </c:pt>
                <c:pt idx="3341">
                  <c:v>1325.66</c:v>
                </c:pt>
                <c:pt idx="3342">
                  <c:v>1308.93</c:v>
                </c:pt>
                <c:pt idx="3343">
                  <c:v>1324.18</c:v>
                </c:pt>
                <c:pt idx="3344">
                  <c:v>1314.88</c:v>
                </c:pt>
                <c:pt idx="3345">
                  <c:v>1329.1</c:v>
                </c:pt>
                <c:pt idx="3346">
                  <c:v>1342.84</c:v>
                </c:pt>
                <c:pt idx="3347">
                  <c:v>1344.78</c:v>
                </c:pt>
                <c:pt idx="3348">
                  <c:v>1357.98</c:v>
                </c:pt>
                <c:pt idx="3349">
                  <c:v>1355.69</c:v>
                </c:pt>
                <c:pt idx="3350">
                  <c:v>1325.51</c:v>
                </c:pt>
                <c:pt idx="3351">
                  <c:v>1335.02</c:v>
                </c:pt>
                <c:pt idx="3352">
                  <c:v>1313.72</c:v>
                </c:pt>
                <c:pt idx="3353">
                  <c:v>1319.99</c:v>
                </c:pt>
                <c:pt idx="3354">
                  <c:v>1331.85</c:v>
                </c:pt>
                <c:pt idx="3355">
                  <c:v>1329.04</c:v>
                </c:pt>
                <c:pt idx="3356">
                  <c:v>1362.16</c:v>
                </c:pt>
                <c:pt idx="3357">
                  <c:v>1365.51</c:v>
                </c:pt>
                <c:pt idx="3358">
                  <c:v>1374.02</c:v>
                </c:pt>
                <c:pt idx="3359">
                  <c:v>1374.02</c:v>
                </c:pt>
                <c:pt idx="3360">
                  <c:v>1367.58</c:v>
                </c:pt>
                <c:pt idx="3361">
                  <c:v>1354.68</c:v>
                </c:pt>
                <c:pt idx="3362">
                  <c:v>1352.46</c:v>
                </c:pt>
                <c:pt idx="3363">
                  <c:v>1341.47</c:v>
                </c:pt>
                <c:pt idx="3364">
                  <c:v>1341.45</c:v>
                </c:pt>
                <c:pt idx="3365">
                  <c:v>1334.76</c:v>
                </c:pt>
                <c:pt idx="3366">
                  <c:v>1356.78</c:v>
                </c:pt>
                <c:pt idx="3367">
                  <c:v>1353.64</c:v>
                </c:pt>
                <c:pt idx="3368">
                  <c:v>1363.67</c:v>
                </c:pt>
                <c:pt idx="3369">
                  <c:v>1372.78</c:v>
                </c:pt>
                <c:pt idx="3370">
                  <c:v>1376.51</c:v>
                </c:pt>
                <c:pt idx="3371">
                  <c:v>1362.66</c:v>
                </c:pt>
                <c:pt idx="3372">
                  <c:v>1350.52</c:v>
                </c:pt>
                <c:pt idx="3373">
                  <c:v>1338.31</c:v>
                </c:pt>
                <c:pt idx="3374">
                  <c:v>1337.89</c:v>
                </c:pt>
                <c:pt idx="3375">
                  <c:v>1360.02</c:v>
                </c:pt>
                <c:pt idx="3376">
                  <c:v>1385.97</c:v>
                </c:pt>
                <c:pt idx="3377">
                  <c:v>1385.3</c:v>
                </c:pt>
                <c:pt idx="3378">
                  <c:v>1379.32</c:v>
                </c:pt>
                <c:pt idx="3379">
                  <c:v>1375.14</c:v>
                </c:pt>
                <c:pt idx="3380">
                  <c:v>1365</c:v>
                </c:pt>
                <c:pt idx="3381">
                  <c:v>1390.99</c:v>
                </c:pt>
                <c:pt idx="3382">
                  <c:v>1394.23</c:v>
                </c:pt>
                <c:pt idx="3383">
                  <c:v>1401.35</c:v>
                </c:pt>
                <c:pt idx="3384">
                  <c:v>1402.22</c:v>
                </c:pt>
                <c:pt idx="3385">
                  <c:v>1402.8</c:v>
                </c:pt>
                <c:pt idx="3386">
                  <c:v>1405.87</c:v>
                </c:pt>
                <c:pt idx="3387">
                  <c:v>1404.11</c:v>
                </c:pt>
                <c:pt idx="3388">
                  <c:v>1403.93</c:v>
                </c:pt>
                <c:pt idx="3389">
                  <c:v>1405.53</c:v>
                </c:pt>
                <c:pt idx="3390">
                  <c:v>1415.51</c:v>
                </c:pt>
                <c:pt idx="3391">
                  <c:v>1418.16</c:v>
                </c:pt>
                <c:pt idx="3392">
                  <c:v>1418.13</c:v>
                </c:pt>
                <c:pt idx="3393">
                  <c:v>1413.17</c:v>
                </c:pt>
                <c:pt idx="3394">
                  <c:v>1413.49</c:v>
                </c:pt>
                <c:pt idx="3395">
                  <c:v>1402.08</c:v>
                </c:pt>
                <c:pt idx="3396">
                  <c:v>1411.13</c:v>
                </c:pt>
                <c:pt idx="3397">
                  <c:v>1410.44</c:v>
                </c:pt>
                <c:pt idx="3398">
                  <c:v>1409.3</c:v>
                </c:pt>
                <c:pt idx="3399">
                  <c:v>1410.49</c:v>
                </c:pt>
                <c:pt idx="3400">
                  <c:v>1399.48</c:v>
                </c:pt>
                <c:pt idx="3401">
                  <c:v>1406.58</c:v>
                </c:pt>
                <c:pt idx="3402">
                  <c:v>1406.58</c:v>
                </c:pt>
                <c:pt idx="3403">
                  <c:v>1404.94</c:v>
                </c:pt>
                <c:pt idx="3404">
                  <c:v>1403.44</c:v>
                </c:pt>
                <c:pt idx="3405">
                  <c:v>1432.12</c:v>
                </c:pt>
                <c:pt idx="3406">
                  <c:v>1437.92</c:v>
                </c:pt>
                <c:pt idx="3407">
                  <c:v>1429.08</c:v>
                </c:pt>
                <c:pt idx="3408">
                  <c:v>1433.56</c:v>
                </c:pt>
                <c:pt idx="3409">
                  <c:v>1436.56</c:v>
                </c:pt>
                <c:pt idx="3410">
                  <c:v>1459.99</c:v>
                </c:pt>
                <c:pt idx="3411">
                  <c:v>1465.77</c:v>
                </c:pt>
                <c:pt idx="3412">
                  <c:v>1461.19</c:v>
                </c:pt>
                <c:pt idx="3413">
                  <c:v>1459.32</c:v>
                </c:pt>
                <c:pt idx="3414">
                  <c:v>1461.05</c:v>
                </c:pt>
                <c:pt idx="3415">
                  <c:v>1460.26</c:v>
                </c:pt>
                <c:pt idx="3416">
                  <c:v>1460.15</c:v>
                </c:pt>
                <c:pt idx="3417">
                  <c:v>1456.89</c:v>
                </c:pt>
                <c:pt idx="3418">
                  <c:v>1441.59</c:v>
                </c:pt>
                <c:pt idx="3419">
                  <c:v>1433.32</c:v>
                </c:pt>
                <c:pt idx="3420">
                  <c:v>1447.15</c:v>
                </c:pt>
                <c:pt idx="3421">
                  <c:v>1440.67</c:v>
                </c:pt>
                <c:pt idx="3422">
                  <c:v>1444.49</c:v>
                </c:pt>
                <c:pt idx="3423">
                  <c:v>1445.75</c:v>
                </c:pt>
                <c:pt idx="3424">
                  <c:v>1450.99</c:v>
                </c:pt>
                <c:pt idx="3425">
                  <c:v>1461.4</c:v>
                </c:pt>
                <c:pt idx="3426">
                  <c:v>1460.93</c:v>
                </c:pt>
                <c:pt idx="3427">
                  <c:v>1455.88</c:v>
                </c:pt>
                <c:pt idx="3428">
                  <c:v>1441.48</c:v>
                </c:pt>
                <c:pt idx="3429">
                  <c:v>1432.56</c:v>
                </c:pt>
                <c:pt idx="3430">
                  <c:v>1432.84</c:v>
                </c:pt>
                <c:pt idx="3431">
                  <c:v>1428.59</c:v>
                </c:pt>
                <c:pt idx="3432">
                  <c:v>1440.13</c:v>
                </c:pt>
                <c:pt idx="3433">
                  <c:v>1454.92</c:v>
                </c:pt>
                <c:pt idx="3434">
                  <c:v>1460.91</c:v>
                </c:pt>
                <c:pt idx="3435">
                  <c:v>1457.34</c:v>
                </c:pt>
                <c:pt idx="3436">
                  <c:v>1433.19</c:v>
                </c:pt>
                <c:pt idx="3437">
                  <c:v>1433.82</c:v>
                </c:pt>
                <c:pt idx="3438">
                  <c:v>1413.11</c:v>
                </c:pt>
                <c:pt idx="3439">
                  <c:v>1408.75</c:v>
                </c:pt>
                <c:pt idx="3440">
                  <c:v>1412.97</c:v>
                </c:pt>
                <c:pt idx="3441">
                  <c:v>1411.94</c:v>
                </c:pt>
                <c:pt idx="3442">
                  <c:v>1411.94</c:v>
                </c:pt>
                <c:pt idx="3443">
                  <c:v>1411.94</c:v>
                </c:pt>
                <c:pt idx="3444">
                  <c:v>1412.16</c:v>
                </c:pt>
                <c:pt idx="3445">
                  <c:v>1427.59</c:v>
                </c:pt>
                <c:pt idx="3446">
                  <c:v>1414.2</c:v>
                </c:pt>
                <c:pt idx="3447">
                  <c:v>1417.26</c:v>
                </c:pt>
                <c:pt idx="3448">
                  <c:v>1428.39</c:v>
                </c:pt>
                <c:pt idx="3449">
                  <c:v>1394.53</c:v>
                </c:pt>
                <c:pt idx="3450">
                  <c:v>1377.51</c:v>
                </c:pt>
                <c:pt idx="3451">
                  <c:v>1379.85</c:v>
                </c:pt>
                <c:pt idx="3452">
                  <c:v>1380.03</c:v>
                </c:pt>
                <c:pt idx="3453">
                  <c:v>1374.53</c:v>
                </c:pt>
                <c:pt idx="3454">
                  <c:v>1355.49</c:v>
                </c:pt>
                <c:pt idx="3455">
                  <c:v>1353.33</c:v>
                </c:pt>
                <c:pt idx="3456">
                  <c:v>1359.88</c:v>
                </c:pt>
                <c:pt idx="3457">
                  <c:v>1386.89</c:v>
                </c:pt>
                <c:pt idx="3458">
                  <c:v>1387.81</c:v>
                </c:pt>
                <c:pt idx="3459">
                  <c:v>1391.03</c:v>
                </c:pt>
                <c:pt idx="3460">
                  <c:v>1391.03</c:v>
                </c:pt>
                <c:pt idx="3461">
                  <c:v>1409.15</c:v>
                </c:pt>
                <c:pt idx="3462">
                  <c:v>1406.29</c:v>
                </c:pt>
                <c:pt idx="3463">
                  <c:v>1398.94</c:v>
                </c:pt>
                <c:pt idx="3464">
                  <c:v>1409.93</c:v>
                </c:pt>
                <c:pt idx="3465">
                  <c:v>1415.95</c:v>
                </c:pt>
                <c:pt idx="3466">
                  <c:v>1416.18</c:v>
                </c:pt>
                <c:pt idx="3467">
                  <c:v>1409.46</c:v>
                </c:pt>
                <c:pt idx="3468">
                  <c:v>1407.05</c:v>
                </c:pt>
                <c:pt idx="3469">
                  <c:v>1409.28</c:v>
                </c:pt>
                <c:pt idx="3470">
                  <c:v>1413.94</c:v>
                </c:pt>
                <c:pt idx="3471">
                  <c:v>1418.07</c:v>
                </c:pt>
                <c:pt idx="3472">
                  <c:v>1418.55</c:v>
                </c:pt>
                <c:pt idx="3473">
                  <c:v>1427.84</c:v>
                </c:pt>
                <c:pt idx="3474">
                  <c:v>1428.48</c:v>
                </c:pt>
                <c:pt idx="3475">
                  <c:v>1419.45</c:v>
                </c:pt>
                <c:pt idx="3476">
                  <c:v>1413.58</c:v>
                </c:pt>
                <c:pt idx="3477">
                  <c:v>1430.36</c:v>
                </c:pt>
                <c:pt idx="3478">
                  <c:v>1446.79</c:v>
                </c:pt>
                <c:pt idx="3479">
                  <c:v>1435.81</c:v>
                </c:pt>
                <c:pt idx="3480">
                  <c:v>1443.69</c:v>
                </c:pt>
                <c:pt idx="3481">
                  <c:v>1430.15</c:v>
                </c:pt>
                <c:pt idx="3482">
                  <c:v>1426.66</c:v>
                </c:pt>
                <c:pt idx="3483">
                  <c:v>1426.66</c:v>
                </c:pt>
                <c:pt idx="3484">
                  <c:v>1419.83</c:v>
                </c:pt>
                <c:pt idx="3485">
                  <c:v>1418.1</c:v>
                </c:pt>
                <c:pt idx="3486">
                  <c:v>1402.43</c:v>
                </c:pt>
                <c:pt idx="3487">
                  <c:v>1426.19</c:v>
                </c:pt>
                <c:pt idx="3488">
                  <c:v>1426.19</c:v>
                </c:pt>
                <c:pt idx="3489">
                  <c:v>1462.42</c:v>
                </c:pt>
                <c:pt idx="3490">
                  <c:v>1459.37</c:v>
                </c:pt>
                <c:pt idx="3491">
                  <c:v>1466.47</c:v>
                </c:pt>
                <c:pt idx="3492">
                  <c:v>1461.89</c:v>
                </c:pt>
                <c:pt idx="3493">
                  <c:v>1457.15</c:v>
                </c:pt>
                <c:pt idx="3494">
                  <c:v>1461.02</c:v>
                </c:pt>
                <c:pt idx="3495">
                  <c:v>1472.12</c:v>
                </c:pt>
                <c:pt idx="3496">
                  <c:v>1472.05</c:v>
                </c:pt>
                <c:pt idx="3497">
                  <c:v>1470.68</c:v>
                </c:pt>
                <c:pt idx="3498">
                  <c:v>1472.34</c:v>
                </c:pt>
                <c:pt idx="3499">
                  <c:v>1472.63</c:v>
                </c:pt>
                <c:pt idx="3500">
                  <c:v>1480.94</c:v>
                </c:pt>
                <c:pt idx="3501">
                  <c:v>1485.98</c:v>
                </c:pt>
                <c:pt idx="3502">
                  <c:v>1485.98</c:v>
                </c:pt>
                <c:pt idx="3503">
                  <c:v>1492.56</c:v>
                </c:pt>
                <c:pt idx="3504">
                  <c:v>1494.81</c:v>
                </c:pt>
                <c:pt idx="3505">
                  <c:v>1494.82</c:v>
                </c:pt>
                <c:pt idx="3506">
                  <c:v>1502.96</c:v>
                </c:pt>
                <c:pt idx="3507">
                  <c:v>1500.18</c:v>
                </c:pt>
                <c:pt idx="3508">
                  <c:v>1507.84</c:v>
                </c:pt>
                <c:pt idx="3509">
                  <c:v>1501.96</c:v>
                </c:pt>
                <c:pt idx="3510">
                  <c:v>1498.11</c:v>
                </c:pt>
                <c:pt idx="3511">
                  <c:v>1513.17</c:v>
                </c:pt>
                <c:pt idx="3512">
                  <c:v>1495.71</c:v>
                </c:pt>
                <c:pt idx="3513">
                  <c:v>1511.29</c:v>
                </c:pt>
                <c:pt idx="3514">
                  <c:v>1512.12</c:v>
                </c:pt>
                <c:pt idx="3515">
                  <c:v>1509.39</c:v>
                </c:pt>
                <c:pt idx="3516">
                  <c:v>1517.93</c:v>
                </c:pt>
                <c:pt idx="3517">
                  <c:v>1517.01</c:v>
                </c:pt>
                <c:pt idx="3518">
                  <c:v>1519.43</c:v>
                </c:pt>
                <c:pt idx="3519">
                  <c:v>1520.33</c:v>
                </c:pt>
                <c:pt idx="3520">
                  <c:v>1521.38</c:v>
                </c:pt>
                <c:pt idx="3521">
                  <c:v>1519.79</c:v>
                </c:pt>
                <c:pt idx="3522">
                  <c:v>1519.79</c:v>
                </c:pt>
                <c:pt idx="3523">
                  <c:v>1530.94</c:v>
                </c:pt>
                <c:pt idx="3524">
                  <c:v>1511.95</c:v>
                </c:pt>
                <c:pt idx="3525">
                  <c:v>1502.42</c:v>
                </c:pt>
                <c:pt idx="3526">
                  <c:v>1515.6</c:v>
                </c:pt>
                <c:pt idx="3527">
                  <c:v>1487.85</c:v>
                </c:pt>
                <c:pt idx="3528">
                  <c:v>1496.94</c:v>
                </c:pt>
                <c:pt idx="3529">
                  <c:v>1515.99</c:v>
                </c:pt>
                <c:pt idx="3530">
                  <c:v>1514.68</c:v>
                </c:pt>
                <c:pt idx="3531">
                  <c:v>1518.2</c:v>
                </c:pt>
                <c:pt idx="3532">
                  <c:v>1525.2</c:v>
                </c:pt>
                <c:pt idx="3533">
                  <c:v>1539.79</c:v>
                </c:pt>
                <c:pt idx="3534">
                  <c:v>1541.46</c:v>
                </c:pt>
                <c:pt idx="3535">
                  <c:v>1544.26</c:v>
                </c:pt>
                <c:pt idx="3536">
                  <c:v>1551.18</c:v>
                </c:pt>
                <c:pt idx="3537">
                  <c:v>1556.22</c:v>
                </c:pt>
                <c:pt idx="3538">
                  <c:v>1552.48</c:v>
                </c:pt>
                <c:pt idx="3539">
                  <c:v>1554.52</c:v>
                </c:pt>
                <c:pt idx="3540">
                  <c:v>1563.23</c:v>
                </c:pt>
                <c:pt idx="3541">
                  <c:v>1560.7</c:v>
                </c:pt>
                <c:pt idx="3542">
                  <c:v>1552.1</c:v>
                </c:pt>
                <c:pt idx="3543">
                  <c:v>1548.34</c:v>
                </c:pt>
                <c:pt idx="3544">
                  <c:v>1558.71</c:v>
                </c:pt>
                <c:pt idx="3545">
                  <c:v>1545.8</c:v>
                </c:pt>
                <c:pt idx="3546">
                  <c:v>1556.89</c:v>
                </c:pt>
                <c:pt idx="3547">
                  <c:v>1551.69</c:v>
                </c:pt>
                <c:pt idx="3548">
                  <c:v>1563.77</c:v>
                </c:pt>
                <c:pt idx="3549">
                  <c:v>1562.85</c:v>
                </c:pt>
                <c:pt idx="3550">
                  <c:v>1569.19</c:v>
                </c:pt>
                <c:pt idx="3551">
                  <c:v>1569.19</c:v>
                </c:pt>
                <c:pt idx="3552">
                  <c:v>1562.17</c:v>
                </c:pt>
                <c:pt idx="3553">
                  <c:v>1570.25</c:v>
                </c:pt>
                <c:pt idx="3554">
                  <c:v>1553.69</c:v>
                </c:pt>
                <c:pt idx="3555">
                  <c:v>1559.98</c:v>
                </c:pt>
                <c:pt idx="3556">
                  <c:v>1553.28</c:v>
                </c:pt>
                <c:pt idx="3557">
                  <c:v>1563.07</c:v>
                </c:pt>
                <c:pt idx="3558">
                  <c:v>1568.61</c:v>
                </c:pt>
                <c:pt idx="3559">
                  <c:v>1587.73</c:v>
                </c:pt>
                <c:pt idx="3560">
                  <c:v>1593.37</c:v>
                </c:pt>
                <c:pt idx="3561">
                  <c:v>1588.85</c:v>
                </c:pt>
                <c:pt idx="3562">
                  <c:v>1552.36</c:v>
                </c:pt>
                <c:pt idx="3563">
                  <c:v>1574.57</c:v>
                </c:pt>
                <c:pt idx="3564">
                  <c:v>1552.01</c:v>
                </c:pt>
                <c:pt idx="3565">
                  <c:v>1541.61</c:v>
                </c:pt>
                <c:pt idx="3566">
                  <c:v>1555.25</c:v>
                </c:pt>
                <c:pt idx="3567">
                  <c:v>1562.5</c:v>
                </c:pt>
                <c:pt idx="3568">
                  <c:v>1578.78</c:v>
                </c:pt>
                <c:pt idx="3569">
                  <c:v>1578.79</c:v>
                </c:pt>
                <c:pt idx="3570">
                  <c:v>1585.16</c:v>
                </c:pt>
                <c:pt idx="3571">
                  <c:v>1582.24</c:v>
                </c:pt>
                <c:pt idx="3572">
                  <c:v>1593.61</c:v>
                </c:pt>
                <c:pt idx="3573">
                  <c:v>1597.57</c:v>
                </c:pt>
                <c:pt idx="3574">
                  <c:v>1582.7</c:v>
                </c:pt>
                <c:pt idx="3575">
                  <c:v>1597.59</c:v>
                </c:pt>
                <c:pt idx="3576">
                  <c:v>1614.42</c:v>
                </c:pt>
                <c:pt idx="3577">
                  <c:v>1617.5</c:v>
                </c:pt>
                <c:pt idx="3578">
                  <c:v>1625.96</c:v>
                </c:pt>
                <c:pt idx="3579">
                  <c:v>1632.69</c:v>
                </c:pt>
                <c:pt idx="3580">
                  <c:v>1626.67</c:v>
                </c:pt>
                <c:pt idx="3581">
                  <c:v>1633.7</c:v>
                </c:pt>
                <c:pt idx="3582">
                  <c:v>1633.77</c:v>
                </c:pt>
                <c:pt idx="3583">
                  <c:v>1650.34</c:v>
                </c:pt>
                <c:pt idx="3584">
                  <c:v>1658.78</c:v>
                </c:pt>
                <c:pt idx="3585">
                  <c:v>1650.47</c:v>
                </c:pt>
                <c:pt idx="3586">
                  <c:v>1667.47</c:v>
                </c:pt>
                <c:pt idx="3587">
                  <c:v>1666.29</c:v>
                </c:pt>
                <c:pt idx="3588">
                  <c:v>1669.16</c:v>
                </c:pt>
                <c:pt idx="3589">
                  <c:v>1655.35</c:v>
                </c:pt>
                <c:pt idx="3590">
                  <c:v>1650.51</c:v>
                </c:pt>
                <c:pt idx="3591">
                  <c:v>1649.6</c:v>
                </c:pt>
                <c:pt idx="3592">
                  <c:v>1649.6</c:v>
                </c:pt>
                <c:pt idx="3593">
                  <c:v>1660.06</c:v>
                </c:pt>
                <c:pt idx="3594">
                  <c:v>1648.36</c:v>
                </c:pt>
                <c:pt idx="3595">
                  <c:v>1654.41</c:v>
                </c:pt>
                <c:pt idx="3596">
                  <c:v>1630.74</c:v>
                </c:pt>
                <c:pt idx="3597">
                  <c:v>1640.42</c:v>
                </c:pt>
                <c:pt idx="3598">
                  <c:v>1631.38</c:v>
                </c:pt>
                <c:pt idx="3599">
                  <c:v>1608.9</c:v>
                </c:pt>
                <c:pt idx="3600">
                  <c:v>1622.56</c:v>
                </c:pt>
                <c:pt idx="3601">
                  <c:v>1643.38</c:v>
                </c:pt>
                <c:pt idx="3602">
                  <c:v>1642.81</c:v>
                </c:pt>
                <c:pt idx="3603">
                  <c:v>1626.13</c:v>
                </c:pt>
                <c:pt idx="3604">
                  <c:v>1612.52</c:v>
                </c:pt>
                <c:pt idx="3605">
                  <c:v>1636.36</c:v>
                </c:pt>
                <c:pt idx="3606">
                  <c:v>1626.73</c:v>
                </c:pt>
                <c:pt idx="3607">
                  <c:v>1639.04</c:v>
                </c:pt>
                <c:pt idx="3608">
                  <c:v>1651.81</c:v>
                </c:pt>
                <c:pt idx="3609">
                  <c:v>1628.93</c:v>
                </c:pt>
                <c:pt idx="3610">
                  <c:v>1588.19</c:v>
                </c:pt>
                <c:pt idx="3611">
                  <c:v>1592.43</c:v>
                </c:pt>
                <c:pt idx="3612">
                  <c:v>1573.09</c:v>
                </c:pt>
                <c:pt idx="3613">
                  <c:v>1588.03</c:v>
                </c:pt>
                <c:pt idx="3614">
                  <c:v>1603.26</c:v>
                </c:pt>
                <c:pt idx="3615">
                  <c:v>1613.2</c:v>
                </c:pt>
                <c:pt idx="3616">
                  <c:v>1606.28</c:v>
                </c:pt>
                <c:pt idx="3617">
                  <c:v>1614.96</c:v>
                </c:pt>
                <c:pt idx="3618">
                  <c:v>1614.08</c:v>
                </c:pt>
                <c:pt idx="3619">
                  <c:v>1615.41</c:v>
                </c:pt>
                <c:pt idx="3620">
                  <c:v>1615.41</c:v>
                </c:pt>
                <c:pt idx="3621">
                  <c:v>1631.89</c:v>
                </c:pt>
                <c:pt idx="3622">
                  <c:v>1640.46</c:v>
                </c:pt>
                <c:pt idx="3623">
                  <c:v>1652.32</c:v>
                </c:pt>
                <c:pt idx="3624">
                  <c:v>1652.62</c:v>
                </c:pt>
                <c:pt idx="3625">
                  <c:v>1675.02</c:v>
                </c:pt>
                <c:pt idx="3626">
                  <c:v>1680.19</c:v>
                </c:pt>
                <c:pt idx="3627">
                  <c:v>1682.5</c:v>
                </c:pt>
                <c:pt idx="3628">
                  <c:v>1676.26</c:v>
                </c:pt>
                <c:pt idx="3629">
                  <c:v>1680.91</c:v>
                </c:pt>
                <c:pt idx="3630">
                  <c:v>1689.37</c:v>
                </c:pt>
                <c:pt idx="3631">
                  <c:v>1692.09</c:v>
                </c:pt>
                <c:pt idx="3632">
                  <c:v>1695.53</c:v>
                </c:pt>
                <c:pt idx="3633">
                  <c:v>1692.39</c:v>
                </c:pt>
                <c:pt idx="3634">
                  <c:v>1685.94</c:v>
                </c:pt>
                <c:pt idx="3635">
                  <c:v>1690.25</c:v>
                </c:pt>
                <c:pt idx="3636">
                  <c:v>1691.65</c:v>
                </c:pt>
                <c:pt idx="3637">
                  <c:v>1685.33</c:v>
                </c:pt>
                <c:pt idx="3638">
                  <c:v>1685.96</c:v>
                </c:pt>
                <c:pt idx="3639">
                  <c:v>1685.73</c:v>
                </c:pt>
                <c:pt idx="3640">
                  <c:v>1706.87</c:v>
                </c:pt>
                <c:pt idx="3641">
                  <c:v>1709.67</c:v>
                </c:pt>
                <c:pt idx="3642">
                  <c:v>1707.14</c:v>
                </c:pt>
                <c:pt idx="3643">
                  <c:v>1697.37</c:v>
                </c:pt>
                <c:pt idx="3644">
                  <c:v>1690.91</c:v>
                </c:pt>
                <c:pt idx="3645">
                  <c:v>1697.48</c:v>
                </c:pt>
                <c:pt idx="3646">
                  <c:v>1691.42</c:v>
                </c:pt>
                <c:pt idx="3647">
                  <c:v>1689.47</c:v>
                </c:pt>
                <c:pt idx="3648">
                  <c:v>1694.16</c:v>
                </c:pt>
                <c:pt idx="3649">
                  <c:v>1685.39</c:v>
                </c:pt>
                <c:pt idx="3650">
                  <c:v>1661.32</c:v>
                </c:pt>
                <c:pt idx="3651">
                  <c:v>1655.83</c:v>
                </c:pt>
                <c:pt idx="3652">
                  <c:v>1646.06</c:v>
                </c:pt>
                <c:pt idx="3653">
                  <c:v>1652.35</c:v>
                </c:pt>
                <c:pt idx="3654">
                  <c:v>1642.8</c:v>
                </c:pt>
                <c:pt idx="3655">
                  <c:v>1656.96</c:v>
                </c:pt>
                <c:pt idx="3656">
                  <c:v>1663.5</c:v>
                </c:pt>
                <c:pt idx="3657">
                  <c:v>1656.78</c:v>
                </c:pt>
                <c:pt idx="3658">
                  <c:v>1630.48</c:v>
                </c:pt>
                <c:pt idx="3659">
                  <c:v>1634.96</c:v>
                </c:pt>
                <c:pt idx="3660">
                  <c:v>1638.17</c:v>
                </c:pt>
                <c:pt idx="3661">
                  <c:v>1632.97</c:v>
                </c:pt>
                <c:pt idx="3662">
                  <c:v>1632.97</c:v>
                </c:pt>
                <c:pt idx="3663">
                  <c:v>1639.77</c:v>
                </c:pt>
                <c:pt idx="3664">
                  <c:v>1653.08</c:v>
                </c:pt>
                <c:pt idx="3665">
                  <c:v>1655.08</c:v>
                </c:pt>
                <c:pt idx="3666">
                  <c:v>1655.17</c:v>
                </c:pt>
                <c:pt idx="3667">
                  <c:v>1671.71</c:v>
                </c:pt>
                <c:pt idx="3668">
                  <c:v>1683.99</c:v>
                </c:pt>
                <c:pt idx="3669">
                  <c:v>1689.13</c:v>
                </c:pt>
                <c:pt idx="3670">
                  <c:v>1683.42</c:v>
                </c:pt>
                <c:pt idx="3671">
                  <c:v>1687.99</c:v>
                </c:pt>
                <c:pt idx="3672">
                  <c:v>1697.6</c:v>
                </c:pt>
                <c:pt idx="3673">
                  <c:v>1704.76</c:v>
                </c:pt>
                <c:pt idx="3674">
                  <c:v>1725.52</c:v>
                </c:pt>
                <c:pt idx="3675">
                  <c:v>1722.34</c:v>
                </c:pt>
                <c:pt idx="3676">
                  <c:v>1709.91</c:v>
                </c:pt>
                <c:pt idx="3677">
                  <c:v>1701.84</c:v>
                </c:pt>
                <c:pt idx="3678">
                  <c:v>1697.42</c:v>
                </c:pt>
                <c:pt idx="3679">
                  <c:v>1692.77</c:v>
                </c:pt>
                <c:pt idx="3680">
                  <c:v>1698.67</c:v>
                </c:pt>
                <c:pt idx="3681">
                  <c:v>1691.75</c:v>
                </c:pt>
                <c:pt idx="3682">
                  <c:v>1681.55</c:v>
                </c:pt>
                <c:pt idx="3683">
                  <c:v>1695</c:v>
                </c:pt>
                <c:pt idx="3684">
                  <c:v>1693.87</c:v>
                </c:pt>
                <c:pt idx="3685">
                  <c:v>1678.66</c:v>
                </c:pt>
                <c:pt idx="3686">
                  <c:v>1690.5</c:v>
                </c:pt>
                <c:pt idx="3687">
                  <c:v>1676.12</c:v>
                </c:pt>
                <c:pt idx="3688">
                  <c:v>1655.45</c:v>
                </c:pt>
                <c:pt idx="3689">
                  <c:v>1656.4</c:v>
                </c:pt>
                <c:pt idx="3690">
                  <c:v>1692.56</c:v>
                </c:pt>
                <c:pt idx="3691">
                  <c:v>1703.2</c:v>
                </c:pt>
                <c:pt idx="3692">
                  <c:v>1710.14</c:v>
                </c:pt>
                <c:pt idx="3693">
                  <c:v>1698.06</c:v>
                </c:pt>
                <c:pt idx="3694">
                  <c:v>1721.54</c:v>
                </c:pt>
                <c:pt idx="3695">
                  <c:v>1733.15</c:v>
                </c:pt>
                <c:pt idx="3696">
                  <c:v>1744.5</c:v>
                </c:pt>
                <c:pt idx="3697">
                  <c:v>1744.66</c:v>
                </c:pt>
                <c:pt idx="3698">
                  <c:v>1754.67</c:v>
                </c:pt>
                <c:pt idx="3699">
                  <c:v>1746.38</c:v>
                </c:pt>
                <c:pt idx="3700">
                  <c:v>1752.07</c:v>
                </c:pt>
                <c:pt idx="3701">
                  <c:v>1759.77</c:v>
                </c:pt>
                <c:pt idx="3702">
                  <c:v>1762.11</c:v>
                </c:pt>
                <c:pt idx="3703">
                  <c:v>1771.95</c:v>
                </c:pt>
                <c:pt idx="3704">
                  <c:v>1763.31</c:v>
                </c:pt>
                <c:pt idx="3705">
                  <c:v>1756.54</c:v>
                </c:pt>
                <c:pt idx="3706">
                  <c:v>1761.64</c:v>
                </c:pt>
                <c:pt idx="3707">
                  <c:v>1767.93</c:v>
                </c:pt>
                <c:pt idx="3708">
                  <c:v>1762.97</c:v>
                </c:pt>
                <c:pt idx="3709">
                  <c:v>1770.49</c:v>
                </c:pt>
                <c:pt idx="3710">
                  <c:v>1747.15</c:v>
                </c:pt>
                <c:pt idx="3711">
                  <c:v>1770.61</c:v>
                </c:pt>
                <c:pt idx="3712">
                  <c:v>1771.89</c:v>
                </c:pt>
                <c:pt idx="3713">
                  <c:v>1767.69</c:v>
                </c:pt>
                <c:pt idx="3714">
                  <c:v>1782</c:v>
                </c:pt>
                <c:pt idx="3715">
                  <c:v>1790.62</c:v>
                </c:pt>
                <c:pt idx="3716">
                  <c:v>1798.18</c:v>
                </c:pt>
                <c:pt idx="3717">
                  <c:v>1791.53</c:v>
                </c:pt>
                <c:pt idx="3718">
                  <c:v>1787.87</c:v>
                </c:pt>
                <c:pt idx="3719">
                  <c:v>1781.37</c:v>
                </c:pt>
                <c:pt idx="3720">
                  <c:v>1795.85</c:v>
                </c:pt>
                <c:pt idx="3721">
                  <c:v>1804.76</c:v>
                </c:pt>
                <c:pt idx="3722">
                  <c:v>1802.48</c:v>
                </c:pt>
                <c:pt idx="3723">
                  <c:v>1802.75</c:v>
                </c:pt>
                <c:pt idx="3724">
                  <c:v>1807.23</c:v>
                </c:pt>
                <c:pt idx="3725">
                  <c:v>1807.23</c:v>
                </c:pt>
                <c:pt idx="3726">
                  <c:v>1805.81</c:v>
                </c:pt>
                <c:pt idx="3727">
                  <c:v>1800.9</c:v>
                </c:pt>
                <c:pt idx="3728">
                  <c:v>1795.15</c:v>
                </c:pt>
                <c:pt idx="3729">
                  <c:v>1792.81</c:v>
                </c:pt>
                <c:pt idx="3730">
                  <c:v>1785.03</c:v>
                </c:pt>
                <c:pt idx="3731">
                  <c:v>1805.09</c:v>
                </c:pt>
                <c:pt idx="3732">
                  <c:v>1808.37</c:v>
                </c:pt>
                <c:pt idx="3733">
                  <c:v>1802.62</c:v>
                </c:pt>
                <c:pt idx="3734">
                  <c:v>1782.22</c:v>
                </c:pt>
                <c:pt idx="3735">
                  <c:v>1775.5</c:v>
                </c:pt>
                <c:pt idx="3736">
                  <c:v>1775.32</c:v>
                </c:pt>
                <c:pt idx="3737">
                  <c:v>1786.54</c:v>
                </c:pt>
                <c:pt idx="3738">
                  <c:v>1781</c:v>
                </c:pt>
                <c:pt idx="3739">
                  <c:v>1810.65</c:v>
                </c:pt>
                <c:pt idx="3740">
                  <c:v>1809.6</c:v>
                </c:pt>
                <c:pt idx="3741">
                  <c:v>1818.32</c:v>
                </c:pt>
                <c:pt idx="3742">
                  <c:v>1827.99</c:v>
                </c:pt>
                <c:pt idx="3743">
                  <c:v>1833.32</c:v>
                </c:pt>
                <c:pt idx="3744">
                  <c:v>1833.32</c:v>
                </c:pt>
                <c:pt idx="3745">
                  <c:v>1842.02</c:v>
                </c:pt>
                <c:pt idx="3746">
                  <c:v>1841.4</c:v>
                </c:pt>
                <c:pt idx="3747">
                  <c:v>1841.07</c:v>
                </c:pt>
                <c:pt idx="3748">
                  <c:v>1848.36</c:v>
                </c:pt>
                <c:pt idx="3749">
                  <c:v>1848.36</c:v>
                </c:pt>
                <c:pt idx="3750">
                  <c:v>1831.98</c:v>
                </c:pt>
                <c:pt idx="3751">
                  <c:v>1831.37</c:v>
                </c:pt>
                <c:pt idx="3752">
                  <c:v>1826.77</c:v>
                </c:pt>
                <c:pt idx="3753">
                  <c:v>1837.88</c:v>
                </c:pt>
                <c:pt idx="3754">
                  <c:v>1837.49</c:v>
                </c:pt>
                <c:pt idx="3755">
                  <c:v>1838.13</c:v>
                </c:pt>
                <c:pt idx="3756">
                  <c:v>1842.37</c:v>
                </c:pt>
                <c:pt idx="3757">
                  <c:v>1819.2</c:v>
                </c:pt>
                <c:pt idx="3758">
                  <c:v>1838.88</c:v>
                </c:pt>
                <c:pt idx="3759">
                  <c:v>1848.38</c:v>
                </c:pt>
                <c:pt idx="3760">
                  <c:v>1845.89</c:v>
                </c:pt>
                <c:pt idx="3761">
                  <c:v>1838.7</c:v>
                </c:pt>
                <c:pt idx="3762">
                  <c:v>1838.7</c:v>
                </c:pt>
                <c:pt idx="3763">
                  <c:v>1843.8</c:v>
                </c:pt>
                <c:pt idx="3764">
                  <c:v>1844.86</c:v>
                </c:pt>
                <c:pt idx="3765">
                  <c:v>1828.46</c:v>
                </c:pt>
                <c:pt idx="3766">
                  <c:v>1790.29</c:v>
                </c:pt>
                <c:pt idx="3767">
                  <c:v>1781.56</c:v>
                </c:pt>
                <c:pt idx="3768">
                  <c:v>1792.5</c:v>
                </c:pt>
                <c:pt idx="3769">
                  <c:v>1774.2</c:v>
                </c:pt>
                <c:pt idx="3770">
                  <c:v>1794.19</c:v>
                </c:pt>
                <c:pt idx="3771">
                  <c:v>1782.59</c:v>
                </c:pt>
                <c:pt idx="3772">
                  <c:v>1741.89</c:v>
                </c:pt>
                <c:pt idx="3773">
                  <c:v>1755.2</c:v>
                </c:pt>
                <c:pt idx="3774">
                  <c:v>1751.64</c:v>
                </c:pt>
                <c:pt idx="3775">
                  <c:v>1773.43</c:v>
                </c:pt>
                <c:pt idx="3776">
                  <c:v>1797.02</c:v>
                </c:pt>
                <c:pt idx="3777">
                  <c:v>1799.84</c:v>
                </c:pt>
                <c:pt idx="3778">
                  <c:v>1819.75</c:v>
                </c:pt>
                <c:pt idx="3779">
                  <c:v>1819.26</c:v>
                </c:pt>
                <c:pt idx="3780">
                  <c:v>1829.83</c:v>
                </c:pt>
                <c:pt idx="3781">
                  <c:v>1838.63</c:v>
                </c:pt>
                <c:pt idx="3782">
                  <c:v>1838.63</c:v>
                </c:pt>
                <c:pt idx="3783">
                  <c:v>1840.76</c:v>
                </c:pt>
                <c:pt idx="3784">
                  <c:v>1828.75</c:v>
                </c:pt>
                <c:pt idx="3785">
                  <c:v>1839.78</c:v>
                </c:pt>
                <c:pt idx="3786">
                  <c:v>1836.25</c:v>
                </c:pt>
                <c:pt idx="3787">
                  <c:v>1847.61</c:v>
                </c:pt>
                <c:pt idx="3788">
                  <c:v>1845.12</c:v>
                </c:pt>
                <c:pt idx="3789">
                  <c:v>1845.16</c:v>
                </c:pt>
                <c:pt idx="3790">
                  <c:v>1854.29</c:v>
                </c:pt>
                <c:pt idx="3791">
                  <c:v>1859.45</c:v>
                </c:pt>
                <c:pt idx="3792">
                  <c:v>1845.73</c:v>
                </c:pt>
                <c:pt idx="3793">
                  <c:v>1873.91</c:v>
                </c:pt>
                <c:pt idx="3794">
                  <c:v>1873.81</c:v>
                </c:pt>
                <c:pt idx="3795">
                  <c:v>1877.03</c:v>
                </c:pt>
                <c:pt idx="3796">
                  <c:v>1878.04</c:v>
                </c:pt>
                <c:pt idx="3797">
                  <c:v>1877.17</c:v>
                </c:pt>
                <c:pt idx="3798">
                  <c:v>1867.63</c:v>
                </c:pt>
                <c:pt idx="3799">
                  <c:v>1868.2</c:v>
                </c:pt>
                <c:pt idx="3800">
                  <c:v>1846.34</c:v>
                </c:pt>
                <c:pt idx="3801">
                  <c:v>1841.13</c:v>
                </c:pt>
                <c:pt idx="3802">
                  <c:v>1858.83</c:v>
                </c:pt>
                <c:pt idx="3803">
                  <c:v>1872.25</c:v>
                </c:pt>
                <c:pt idx="3804">
                  <c:v>1860.77</c:v>
                </c:pt>
                <c:pt idx="3805">
                  <c:v>1872.01</c:v>
                </c:pt>
                <c:pt idx="3806">
                  <c:v>1866.52</c:v>
                </c:pt>
                <c:pt idx="3807">
                  <c:v>1857.44</c:v>
                </c:pt>
                <c:pt idx="3808">
                  <c:v>1865.62</c:v>
                </c:pt>
                <c:pt idx="3809">
                  <c:v>1852.56</c:v>
                </c:pt>
                <c:pt idx="3810">
                  <c:v>1849.04</c:v>
                </c:pt>
                <c:pt idx="3811">
                  <c:v>1857.62</c:v>
                </c:pt>
                <c:pt idx="3812">
                  <c:v>1872.34</c:v>
                </c:pt>
                <c:pt idx="3813">
                  <c:v>1885.52</c:v>
                </c:pt>
                <c:pt idx="3814">
                  <c:v>1890.9</c:v>
                </c:pt>
                <c:pt idx="3815">
                  <c:v>1888.77</c:v>
                </c:pt>
                <c:pt idx="3816">
                  <c:v>1865.09</c:v>
                </c:pt>
                <c:pt idx="3817">
                  <c:v>1845.04</c:v>
                </c:pt>
                <c:pt idx="3818">
                  <c:v>1851.96</c:v>
                </c:pt>
                <c:pt idx="3819">
                  <c:v>1872.18</c:v>
                </c:pt>
                <c:pt idx="3820">
                  <c:v>1833.08</c:v>
                </c:pt>
                <c:pt idx="3821">
                  <c:v>1815.69</c:v>
                </c:pt>
                <c:pt idx="3822">
                  <c:v>1830.61</c:v>
                </c:pt>
                <c:pt idx="3823">
                  <c:v>1842.98</c:v>
                </c:pt>
                <c:pt idx="3824">
                  <c:v>1862.31</c:v>
                </c:pt>
                <c:pt idx="3825">
                  <c:v>1864.85</c:v>
                </c:pt>
                <c:pt idx="3826">
                  <c:v>1864.85</c:v>
                </c:pt>
                <c:pt idx="3827">
                  <c:v>1871.89</c:v>
                </c:pt>
                <c:pt idx="3828">
                  <c:v>1879.55</c:v>
                </c:pt>
                <c:pt idx="3829">
                  <c:v>1875.39</c:v>
                </c:pt>
                <c:pt idx="3830">
                  <c:v>1878.61</c:v>
                </c:pt>
                <c:pt idx="3831">
                  <c:v>1863.4</c:v>
                </c:pt>
                <c:pt idx="3832">
                  <c:v>1869.43</c:v>
                </c:pt>
                <c:pt idx="3833">
                  <c:v>1878.33</c:v>
                </c:pt>
                <c:pt idx="3834">
                  <c:v>1883.95</c:v>
                </c:pt>
                <c:pt idx="3835">
                  <c:v>1883.68</c:v>
                </c:pt>
                <c:pt idx="3836">
                  <c:v>1881.14</c:v>
                </c:pt>
                <c:pt idx="3837">
                  <c:v>1884.66</c:v>
                </c:pt>
                <c:pt idx="3838">
                  <c:v>1867.72</c:v>
                </c:pt>
                <c:pt idx="3839">
                  <c:v>1878.21</c:v>
                </c:pt>
                <c:pt idx="3840">
                  <c:v>1875.63</c:v>
                </c:pt>
                <c:pt idx="3841">
                  <c:v>1878.48</c:v>
                </c:pt>
                <c:pt idx="3842">
                  <c:v>1896.65</c:v>
                </c:pt>
                <c:pt idx="3843">
                  <c:v>1897.45</c:v>
                </c:pt>
                <c:pt idx="3844">
                  <c:v>1888.53</c:v>
                </c:pt>
                <c:pt idx="3845">
                  <c:v>1870.85</c:v>
                </c:pt>
                <c:pt idx="3846">
                  <c:v>1877.86</c:v>
                </c:pt>
                <c:pt idx="3847">
                  <c:v>1885.08</c:v>
                </c:pt>
                <c:pt idx="3848">
                  <c:v>1872.83</c:v>
                </c:pt>
                <c:pt idx="3849">
                  <c:v>1888.03</c:v>
                </c:pt>
                <c:pt idx="3850">
                  <c:v>1892.49</c:v>
                </c:pt>
                <c:pt idx="3851">
                  <c:v>1900.53</c:v>
                </c:pt>
                <c:pt idx="3852">
                  <c:v>1900.53</c:v>
                </c:pt>
                <c:pt idx="3853">
                  <c:v>1911.91</c:v>
                </c:pt>
                <c:pt idx="3854">
                  <c:v>1909.78</c:v>
                </c:pt>
                <c:pt idx="3855">
                  <c:v>1920.03</c:v>
                </c:pt>
                <c:pt idx="3856">
                  <c:v>1923.57</c:v>
                </c:pt>
                <c:pt idx="3857">
                  <c:v>1924.97</c:v>
                </c:pt>
                <c:pt idx="3858">
                  <c:v>1924.24</c:v>
                </c:pt>
                <c:pt idx="3859">
                  <c:v>1927.88</c:v>
                </c:pt>
                <c:pt idx="3860">
                  <c:v>1940.46</c:v>
                </c:pt>
                <c:pt idx="3861">
                  <c:v>1949.44</c:v>
                </c:pt>
                <c:pt idx="3862">
                  <c:v>1951.27</c:v>
                </c:pt>
                <c:pt idx="3863">
                  <c:v>1950.79</c:v>
                </c:pt>
                <c:pt idx="3864">
                  <c:v>1943.89</c:v>
                </c:pt>
                <c:pt idx="3865">
                  <c:v>1930.11</c:v>
                </c:pt>
                <c:pt idx="3866">
                  <c:v>1936.16</c:v>
                </c:pt>
                <c:pt idx="3867">
                  <c:v>1937.78</c:v>
                </c:pt>
                <c:pt idx="3868">
                  <c:v>1941.99</c:v>
                </c:pt>
                <c:pt idx="3869">
                  <c:v>1956.98</c:v>
                </c:pt>
                <c:pt idx="3870">
                  <c:v>1959.48</c:v>
                </c:pt>
                <c:pt idx="3871">
                  <c:v>1962.87</c:v>
                </c:pt>
                <c:pt idx="3872">
                  <c:v>1962.61</c:v>
                </c:pt>
                <c:pt idx="3873">
                  <c:v>1949.98</c:v>
                </c:pt>
                <c:pt idx="3874">
                  <c:v>1959.53</c:v>
                </c:pt>
                <c:pt idx="3875">
                  <c:v>1957.22</c:v>
                </c:pt>
                <c:pt idx="3876">
                  <c:v>1960.96</c:v>
                </c:pt>
                <c:pt idx="3877">
                  <c:v>1960.23</c:v>
                </c:pt>
                <c:pt idx="3878">
                  <c:v>1973.32</c:v>
                </c:pt>
                <c:pt idx="3879">
                  <c:v>1974.62</c:v>
                </c:pt>
                <c:pt idx="3880">
                  <c:v>1985.44</c:v>
                </c:pt>
                <c:pt idx="3881">
                  <c:v>1985.44</c:v>
                </c:pt>
                <c:pt idx="3882">
                  <c:v>1977.65</c:v>
                </c:pt>
                <c:pt idx="3883">
                  <c:v>1963.71</c:v>
                </c:pt>
                <c:pt idx="3884">
                  <c:v>1972.83</c:v>
                </c:pt>
                <c:pt idx="3885">
                  <c:v>1964.68</c:v>
                </c:pt>
                <c:pt idx="3886">
                  <c:v>1967.57</c:v>
                </c:pt>
                <c:pt idx="3887">
                  <c:v>1977.1</c:v>
                </c:pt>
                <c:pt idx="3888">
                  <c:v>1973.28</c:v>
                </c:pt>
                <c:pt idx="3889">
                  <c:v>1981.57</c:v>
                </c:pt>
                <c:pt idx="3890">
                  <c:v>1958.12</c:v>
                </c:pt>
                <c:pt idx="3891">
                  <c:v>1978.22</c:v>
                </c:pt>
                <c:pt idx="3892">
                  <c:v>1973.63</c:v>
                </c:pt>
                <c:pt idx="3893">
                  <c:v>1983.53</c:v>
                </c:pt>
                <c:pt idx="3894">
                  <c:v>1987.01</c:v>
                </c:pt>
                <c:pt idx="3895">
                  <c:v>1987.98</c:v>
                </c:pt>
                <c:pt idx="3896">
                  <c:v>1978.34</c:v>
                </c:pt>
                <c:pt idx="3897">
                  <c:v>1978.91</c:v>
                </c:pt>
                <c:pt idx="3898">
                  <c:v>1969.95</c:v>
                </c:pt>
                <c:pt idx="3899">
                  <c:v>1970.07</c:v>
                </c:pt>
                <c:pt idx="3900">
                  <c:v>1930.67</c:v>
                </c:pt>
                <c:pt idx="3901">
                  <c:v>1925.15</c:v>
                </c:pt>
                <c:pt idx="3902">
                  <c:v>1938.99</c:v>
                </c:pt>
                <c:pt idx="3903">
                  <c:v>1920.21</c:v>
                </c:pt>
                <c:pt idx="3904">
                  <c:v>1920.24</c:v>
                </c:pt>
                <c:pt idx="3905">
                  <c:v>1909.57</c:v>
                </c:pt>
                <c:pt idx="3906">
                  <c:v>1931.59</c:v>
                </c:pt>
                <c:pt idx="3907">
                  <c:v>1936.92</c:v>
                </c:pt>
                <c:pt idx="3908">
                  <c:v>1933.75</c:v>
                </c:pt>
                <c:pt idx="3909">
                  <c:v>1946.72</c:v>
                </c:pt>
                <c:pt idx="3910">
                  <c:v>1955.18</c:v>
                </c:pt>
                <c:pt idx="3911">
                  <c:v>1955.06</c:v>
                </c:pt>
                <c:pt idx="3912">
                  <c:v>1971.74</c:v>
                </c:pt>
                <c:pt idx="3913">
                  <c:v>1981.6</c:v>
                </c:pt>
                <c:pt idx="3914">
                  <c:v>1986.51</c:v>
                </c:pt>
                <c:pt idx="3915">
                  <c:v>1992.37</c:v>
                </c:pt>
                <c:pt idx="3916">
                  <c:v>1988.4</c:v>
                </c:pt>
                <c:pt idx="3917">
                  <c:v>1997.92</c:v>
                </c:pt>
                <c:pt idx="3918">
                  <c:v>2000.02</c:v>
                </c:pt>
                <c:pt idx="3919">
                  <c:v>2000.12</c:v>
                </c:pt>
                <c:pt idx="3920">
                  <c:v>1996.74</c:v>
                </c:pt>
                <c:pt idx="3921">
                  <c:v>2003.37</c:v>
                </c:pt>
                <c:pt idx="3922">
                  <c:v>2003.37</c:v>
                </c:pt>
                <c:pt idx="3923">
                  <c:v>2002.28</c:v>
                </c:pt>
                <c:pt idx="3924">
                  <c:v>2000.72</c:v>
                </c:pt>
                <c:pt idx="3925">
                  <c:v>1997.65</c:v>
                </c:pt>
                <c:pt idx="3926">
                  <c:v>2007.71</c:v>
                </c:pt>
                <c:pt idx="3927">
                  <c:v>2001.54</c:v>
                </c:pt>
                <c:pt idx="3928">
                  <c:v>1988.44</c:v>
                </c:pt>
                <c:pt idx="3929">
                  <c:v>1995.69</c:v>
                </c:pt>
                <c:pt idx="3930">
                  <c:v>1997.45</c:v>
                </c:pt>
                <c:pt idx="3931">
                  <c:v>1985.54</c:v>
                </c:pt>
                <c:pt idx="3932">
                  <c:v>1984.13</c:v>
                </c:pt>
                <c:pt idx="3933">
                  <c:v>1998.98</c:v>
                </c:pt>
                <c:pt idx="3934">
                  <c:v>2001.57</c:v>
                </c:pt>
                <c:pt idx="3935">
                  <c:v>2011.36</c:v>
                </c:pt>
                <c:pt idx="3936">
                  <c:v>2010.4</c:v>
                </c:pt>
                <c:pt idx="3937">
                  <c:v>1994.29</c:v>
                </c:pt>
                <c:pt idx="3938">
                  <c:v>1982.77</c:v>
                </c:pt>
                <c:pt idx="3939">
                  <c:v>1998.3</c:v>
                </c:pt>
                <c:pt idx="3940">
                  <c:v>1965.99</c:v>
                </c:pt>
                <c:pt idx="3941">
                  <c:v>1982.85</c:v>
                </c:pt>
                <c:pt idx="3942">
                  <c:v>1977.8</c:v>
                </c:pt>
                <c:pt idx="3943">
                  <c:v>1972.29</c:v>
                </c:pt>
                <c:pt idx="3944">
                  <c:v>1946.16</c:v>
                </c:pt>
                <c:pt idx="3945">
                  <c:v>1946.17</c:v>
                </c:pt>
                <c:pt idx="3946">
                  <c:v>1967.9</c:v>
                </c:pt>
                <c:pt idx="3947">
                  <c:v>1964.82</c:v>
                </c:pt>
                <c:pt idx="3948">
                  <c:v>1935.1</c:v>
                </c:pt>
                <c:pt idx="3949">
                  <c:v>1968.89</c:v>
                </c:pt>
                <c:pt idx="3950">
                  <c:v>1928.21</c:v>
                </c:pt>
                <c:pt idx="3951">
                  <c:v>1906.13</c:v>
                </c:pt>
                <c:pt idx="3952">
                  <c:v>1874.74</c:v>
                </c:pt>
                <c:pt idx="3953">
                  <c:v>1877.7</c:v>
                </c:pt>
                <c:pt idx="3954">
                  <c:v>1862.49</c:v>
                </c:pt>
                <c:pt idx="3955">
                  <c:v>1862.76</c:v>
                </c:pt>
                <c:pt idx="3956">
                  <c:v>1886.76</c:v>
                </c:pt>
                <c:pt idx="3957">
                  <c:v>1904.01</c:v>
                </c:pt>
                <c:pt idx="3958">
                  <c:v>1941.28</c:v>
                </c:pt>
                <c:pt idx="3959">
                  <c:v>1927.11</c:v>
                </c:pt>
                <c:pt idx="3960">
                  <c:v>1950.82</c:v>
                </c:pt>
                <c:pt idx="3961">
                  <c:v>1964.58</c:v>
                </c:pt>
                <c:pt idx="3962">
                  <c:v>1961.63</c:v>
                </c:pt>
                <c:pt idx="3963">
                  <c:v>1985.05</c:v>
                </c:pt>
                <c:pt idx="3964">
                  <c:v>1982.3</c:v>
                </c:pt>
                <c:pt idx="3965">
                  <c:v>1994.65</c:v>
                </c:pt>
                <c:pt idx="3966">
                  <c:v>2018.05</c:v>
                </c:pt>
                <c:pt idx="3967">
                  <c:v>2017.81</c:v>
                </c:pt>
                <c:pt idx="3968">
                  <c:v>2012.1</c:v>
                </c:pt>
                <c:pt idx="3969">
                  <c:v>2023.57</c:v>
                </c:pt>
                <c:pt idx="3970">
                  <c:v>2031.21</c:v>
                </c:pt>
                <c:pt idx="3971">
                  <c:v>2031.92</c:v>
                </c:pt>
                <c:pt idx="3972">
                  <c:v>2038.26</c:v>
                </c:pt>
                <c:pt idx="3973">
                  <c:v>2039.68</c:v>
                </c:pt>
                <c:pt idx="3974">
                  <c:v>2038.25</c:v>
                </c:pt>
                <c:pt idx="3975">
                  <c:v>2039.33</c:v>
                </c:pt>
                <c:pt idx="3976">
                  <c:v>2039.82</c:v>
                </c:pt>
                <c:pt idx="3977">
                  <c:v>2041.32</c:v>
                </c:pt>
                <c:pt idx="3978">
                  <c:v>2051.8000000000002</c:v>
                </c:pt>
                <c:pt idx="3979">
                  <c:v>2048.7199999999998</c:v>
                </c:pt>
                <c:pt idx="3980">
                  <c:v>2052.75</c:v>
                </c:pt>
                <c:pt idx="3981">
                  <c:v>2063.5</c:v>
                </c:pt>
                <c:pt idx="3982">
                  <c:v>2069.41</c:v>
                </c:pt>
                <c:pt idx="3983">
                  <c:v>2067.0300000000002</c:v>
                </c:pt>
                <c:pt idx="3984">
                  <c:v>2072.83</c:v>
                </c:pt>
                <c:pt idx="3985">
                  <c:v>2072.83</c:v>
                </c:pt>
                <c:pt idx="3986">
                  <c:v>2067.56</c:v>
                </c:pt>
                <c:pt idx="3987">
                  <c:v>2053.44</c:v>
                </c:pt>
                <c:pt idx="3988">
                  <c:v>2066.5500000000002</c:v>
                </c:pt>
                <c:pt idx="3989">
                  <c:v>2074.33</c:v>
                </c:pt>
                <c:pt idx="3990">
                  <c:v>2071.92</c:v>
                </c:pt>
                <c:pt idx="3991">
                  <c:v>2075.37</c:v>
                </c:pt>
                <c:pt idx="3992">
                  <c:v>2060.31</c:v>
                </c:pt>
                <c:pt idx="3993">
                  <c:v>2059.8200000000002</c:v>
                </c:pt>
                <c:pt idx="3994">
                  <c:v>2026.14</c:v>
                </c:pt>
                <c:pt idx="3995">
                  <c:v>2035.33</c:v>
                </c:pt>
                <c:pt idx="3996">
                  <c:v>2002.33</c:v>
                </c:pt>
                <c:pt idx="3997">
                  <c:v>1989.63</c:v>
                </c:pt>
                <c:pt idx="3998">
                  <c:v>1972.74</c:v>
                </c:pt>
                <c:pt idx="3999">
                  <c:v>2012.89</c:v>
                </c:pt>
                <c:pt idx="4000">
                  <c:v>2061.23</c:v>
                </c:pt>
                <c:pt idx="4001">
                  <c:v>2070.65</c:v>
                </c:pt>
                <c:pt idx="4002">
                  <c:v>2078.54</c:v>
                </c:pt>
                <c:pt idx="4003">
                  <c:v>2082.17</c:v>
                </c:pt>
                <c:pt idx="4004">
                  <c:v>2081.88</c:v>
                </c:pt>
                <c:pt idx="4005">
                  <c:v>2081.88</c:v>
                </c:pt>
                <c:pt idx="4006">
                  <c:v>2088.77</c:v>
                </c:pt>
                <c:pt idx="4007">
                  <c:v>2090.5700000000002</c:v>
                </c:pt>
                <c:pt idx="4008">
                  <c:v>2080.35</c:v>
                </c:pt>
                <c:pt idx="4009">
                  <c:v>2058.9</c:v>
                </c:pt>
                <c:pt idx="4010">
                  <c:v>2058.9</c:v>
                </c:pt>
                <c:pt idx="4011">
                  <c:v>2058.1999999999998</c:v>
                </c:pt>
                <c:pt idx="4012">
                  <c:v>2020.58</c:v>
                </c:pt>
                <c:pt idx="4013">
                  <c:v>2002.61</c:v>
                </c:pt>
                <c:pt idx="4014">
                  <c:v>2025.9</c:v>
                </c:pt>
                <c:pt idx="4015">
                  <c:v>2062.14</c:v>
                </c:pt>
                <c:pt idx="4016">
                  <c:v>2044.81</c:v>
                </c:pt>
                <c:pt idx="4017">
                  <c:v>2028.26</c:v>
                </c:pt>
                <c:pt idx="4018">
                  <c:v>2023.03</c:v>
                </c:pt>
                <c:pt idx="4019">
                  <c:v>2011.27</c:v>
                </c:pt>
                <c:pt idx="4020">
                  <c:v>1992.67</c:v>
                </c:pt>
                <c:pt idx="4021">
                  <c:v>2019.42</c:v>
                </c:pt>
                <c:pt idx="4022">
                  <c:v>2019.42</c:v>
                </c:pt>
                <c:pt idx="4023">
                  <c:v>2022.55</c:v>
                </c:pt>
                <c:pt idx="4024">
                  <c:v>2032.12</c:v>
                </c:pt>
                <c:pt idx="4025">
                  <c:v>2063.15</c:v>
                </c:pt>
                <c:pt idx="4026">
                  <c:v>2051.8200000000002</c:v>
                </c:pt>
                <c:pt idx="4027">
                  <c:v>2057.09</c:v>
                </c:pt>
                <c:pt idx="4028">
                  <c:v>2029.55</c:v>
                </c:pt>
                <c:pt idx="4029">
                  <c:v>2002.16</c:v>
                </c:pt>
                <c:pt idx="4030">
                  <c:v>2021.25</c:v>
                </c:pt>
                <c:pt idx="4031">
                  <c:v>1994.99</c:v>
                </c:pt>
                <c:pt idx="4032">
                  <c:v>2020.85</c:v>
                </c:pt>
                <c:pt idx="4033">
                  <c:v>2050.0300000000002</c:v>
                </c:pt>
                <c:pt idx="4034">
                  <c:v>2041.51</c:v>
                </c:pt>
                <c:pt idx="4035">
                  <c:v>2062.52</c:v>
                </c:pt>
                <c:pt idx="4036">
                  <c:v>2055.4699999999998</c:v>
                </c:pt>
                <c:pt idx="4037">
                  <c:v>2046.74</c:v>
                </c:pt>
                <c:pt idx="4038">
                  <c:v>2068.59</c:v>
                </c:pt>
                <c:pt idx="4039">
                  <c:v>2068.5300000000002</c:v>
                </c:pt>
                <c:pt idx="4040">
                  <c:v>2088.48</c:v>
                </c:pt>
                <c:pt idx="4041">
                  <c:v>2096.9899999999998</c:v>
                </c:pt>
                <c:pt idx="4042">
                  <c:v>2096.9899999999998</c:v>
                </c:pt>
                <c:pt idx="4043">
                  <c:v>2100.34</c:v>
                </c:pt>
                <c:pt idx="4044">
                  <c:v>2099.6799999999998</c:v>
                </c:pt>
                <c:pt idx="4045">
                  <c:v>2097.4499999999998</c:v>
                </c:pt>
                <c:pt idx="4046">
                  <c:v>2110.3000000000002</c:v>
                </c:pt>
                <c:pt idx="4047">
                  <c:v>2109.66</c:v>
                </c:pt>
                <c:pt idx="4048">
                  <c:v>2115.48</c:v>
                </c:pt>
                <c:pt idx="4049">
                  <c:v>2113.86</c:v>
                </c:pt>
                <c:pt idx="4050">
                  <c:v>2110.7399999999998</c:v>
                </c:pt>
                <c:pt idx="4051">
                  <c:v>2104.5</c:v>
                </c:pt>
                <c:pt idx="4052">
                  <c:v>2117.39</c:v>
                </c:pt>
                <c:pt idx="4053">
                  <c:v>2107.7800000000002</c:v>
                </c:pt>
                <c:pt idx="4054">
                  <c:v>2098.5300000000002</c:v>
                </c:pt>
                <c:pt idx="4055">
                  <c:v>2101.04</c:v>
                </c:pt>
                <c:pt idx="4056">
                  <c:v>2071.2600000000002</c:v>
                </c:pt>
                <c:pt idx="4057">
                  <c:v>2079.4299999999998</c:v>
                </c:pt>
                <c:pt idx="4058">
                  <c:v>2044.16</c:v>
                </c:pt>
                <c:pt idx="4059">
                  <c:v>2040.24</c:v>
                </c:pt>
                <c:pt idx="4060">
                  <c:v>2065.9499999999998</c:v>
                </c:pt>
                <c:pt idx="4061">
                  <c:v>2053.4</c:v>
                </c:pt>
                <c:pt idx="4062">
                  <c:v>2081.19</c:v>
                </c:pt>
                <c:pt idx="4063">
                  <c:v>2074.2800000000002</c:v>
                </c:pt>
                <c:pt idx="4064">
                  <c:v>2099.5</c:v>
                </c:pt>
                <c:pt idx="4065">
                  <c:v>2089.27</c:v>
                </c:pt>
                <c:pt idx="4066">
                  <c:v>2108.1</c:v>
                </c:pt>
                <c:pt idx="4067">
                  <c:v>2104.42</c:v>
                </c:pt>
                <c:pt idx="4068">
                  <c:v>2091.5</c:v>
                </c:pt>
                <c:pt idx="4069">
                  <c:v>2061.0500000000002</c:v>
                </c:pt>
                <c:pt idx="4070">
                  <c:v>2056.15</c:v>
                </c:pt>
                <c:pt idx="4071">
                  <c:v>2061.02</c:v>
                </c:pt>
                <c:pt idx="4072">
                  <c:v>2086.2399999999998</c:v>
                </c:pt>
                <c:pt idx="4073">
                  <c:v>2067.89</c:v>
                </c:pt>
                <c:pt idx="4074">
                  <c:v>2059.69</c:v>
                </c:pt>
                <c:pt idx="4075">
                  <c:v>2066.96</c:v>
                </c:pt>
                <c:pt idx="4076">
                  <c:v>2066.96</c:v>
                </c:pt>
                <c:pt idx="4077">
                  <c:v>2080.62</c:v>
                </c:pt>
                <c:pt idx="4078">
                  <c:v>2076.33</c:v>
                </c:pt>
                <c:pt idx="4079">
                  <c:v>2081.9</c:v>
                </c:pt>
                <c:pt idx="4080">
                  <c:v>2091.1799999999998</c:v>
                </c:pt>
                <c:pt idx="4081">
                  <c:v>2102.06</c:v>
                </c:pt>
                <c:pt idx="4082">
                  <c:v>2092.4299999999998</c:v>
                </c:pt>
                <c:pt idx="4083">
                  <c:v>2095.84</c:v>
                </c:pt>
                <c:pt idx="4084">
                  <c:v>2106.63</c:v>
                </c:pt>
                <c:pt idx="4085">
                  <c:v>2104.9899999999998</c:v>
                </c:pt>
                <c:pt idx="4086">
                  <c:v>2081.1799999999998</c:v>
                </c:pt>
                <c:pt idx="4087">
                  <c:v>2100.4</c:v>
                </c:pt>
                <c:pt idx="4088">
                  <c:v>2097.29</c:v>
                </c:pt>
                <c:pt idx="4089">
                  <c:v>2107.96</c:v>
                </c:pt>
                <c:pt idx="4090">
                  <c:v>2112.9299999999998</c:v>
                </c:pt>
                <c:pt idx="4091">
                  <c:v>2117.69</c:v>
                </c:pt>
                <c:pt idx="4092">
                  <c:v>2108.92</c:v>
                </c:pt>
                <c:pt idx="4093">
                  <c:v>2114.7600000000002</c:v>
                </c:pt>
                <c:pt idx="4094">
                  <c:v>2106.85</c:v>
                </c:pt>
                <c:pt idx="4095">
                  <c:v>2085.5100000000002</c:v>
                </c:pt>
                <c:pt idx="4096">
                  <c:v>2108.29</c:v>
                </c:pt>
                <c:pt idx="4097">
                  <c:v>2114.4899999999998</c:v>
                </c:pt>
                <c:pt idx="4098">
                  <c:v>2089.46</c:v>
                </c:pt>
                <c:pt idx="4099">
                  <c:v>2080.15</c:v>
                </c:pt>
                <c:pt idx="4100">
                  <c:v>2088</c:v>
                </c:pt>
                <c:pt idx="4101">
                  <c:v>2116.1</c:v>
                </c:pt>
                <c:pt idx="4102">
                  <c:v>2105.33</c:v>
                </c:pt>
                <c:pt idx="4103">
                  <c:v>2099.12</c:v>
                </c:pt>
                <c:pt idx="4104">
                  <c:v>2098.48</c:v>
                </c:pt>
                <c:pt idx="4105">
                  <c:v>2121.1</c:v>
                </c:pt>
                <c:pt idx="4106">
                  <c:v>2122.73</c:v>
                </c:pt>
                <c:pt idx="4107">
                  <c:v>2129.1999999999998</c:v>
                </c:pt>
                <c:pt idx="4108">
                  <c:v>2127.83</c:v>
                </c:pt>
                <c:pt idx="4109">
                  <c:v>2125.85</c:v>
                </c:pt>
                <c:pt idx="4110">
                  <c:v>2130.8200000000002</c:v>
                </c:pt>
                <c:pt idx="4111">
                  <c:v>2126.06</c:v>
                </c:pt>
                <c:pt idx="4112">
                  <c:v>2126.06</c:v>
                </c:pt>
                <c:pt idx="4113">
                  <c:v>2104.1999999999998</c:v>
                </c:pt>
                <c:pt idx="4114">
                  <c:v>2123.48</c:v>
                </c:pt>
                <c:pt idx="4115">
                  <c:v>2120.79</c:v>
                </c:pt>
                <c:pt idx="4116">
                  <c:v>2107.39</c:v>
                </c:pt>
                <c:pt idx="4117">
                  <c:v>2111.73</c:v>
                </c:pt>
                <c:pt idx="4118">
                  <c:v>2109.6</c:v>
                </c:pt>
                <c:pt idx="4119">
                  <c:v>2114.0700000000002</c:v>
                </c:pt>
                <c:pt idx="4120">
                  <c:v>2095.84</c:v>
                </c:pt>
                <c:pt idx="4121">
                  <c:v>2092.83</c:v>
                </c:pt>
                <c:pt idx="4122">
                  <c:v>2079.2800000000002</c:v>
                </c:pt>
                <c:pt idx="4123">
                  <c:v>2080.15</c:v>
                </c:pt>
                <c:pt idx="4124">
                  <c:v>2105.1999999999998</c:v>
                </c:pt>
                <c:pt idx="4125">
                  <c:v>2108.86</c:v>
                </c:pt>
                <c:pt idx="4126">
                  <c:v>2094.11</c:v>
                </c:pt>
                <c:pt idx="4127">
                  <c:v>2084.4299999999998</c:v>
                </c:pt>
                <c:pt idx="4128">
                  <c:v>2096.29</c:v>
                </c:pt>
                <c:pt idx="4129">
                  <c:v>2100.44</c:v>
                </c:pt>
                <c:pt idx="4130">
                  <c:v>2121.2399999999998</c:v>
                </c:pt>
                <c:pt idx="4131">
                  <c:v>2109.9899999999998</c:v>
                </c:pt>
                <c:pt idx="4132">
                  <c:v>2122.85</c:v>
                </c:pt>
                <c:pt idx="4133">
                  <c:v>2124.1999999999998</c:v>
                </c:pt>
                <c:pt idx="4134">
                  <c:v>2108.58</c:v>
                </c:pt>
                <c:pt idx="4135">
                  <c:v>2102.31</c:v>
                </c:pt>
                <c:pt idx="4136">
                  <c:v>2101.4899999999998</c:v>
                </c:pt>
                <c:pt idx="4137">
                  <c:v>2057.64</c:v>
                </c:pt>
                <c:pt idx="4138">
                  <c:v>2063.11</c:v>
                </c:pt>
                <c:pt idx="4139">
                  <c:v>2077.42</c:v>
                </c:pt>
                <c:pt idx="4140">
                  <c:v>2076.7800000000002</c:v>
                </c:pt>
                <c:pt idx="4141">
                  <c:v>2076.7800000000002</c:v>
                </c:pt>
                <c:pt idx="4142">
                  <c:v>2068.7600000000002</c:v>
                </c:pt>
                <c:pt idx="4143">
                  <c:v>2081.34</c:v>
                </c:pt>
                <c:pt idx="4144">
                  <c:v>2046.68</c:v>
                </c:pt>
                <c:pt idx="4145">
                  <c:v>2051.31</c:v>
                </c:pt>
                <c:pt idx="4146">
                  <c:v>2076.62</c:v>
                </c:pt>
                <c:pt idx="4147">
                  <c:v>2099.6</c:v>
                </c:pt>
                <c:pt idx="4148">
                  <c:v>2108.9499999999998</c:v>
                </c:pt>
                <c:pt idx="4149">
                  <c:v>2107.4</c:v>
                </c:pt>
                <c:pt idx="4150">
                  <c:v>2124.29</c:v>
                </c:pt>
                <c:pt idx="4151">
                  <c:v>2126.64</c:v>
                </c:pt>
                <c:pt idx="4152">
                  <c:v>2128.2800000000002</c:v>
                </c:pt>
                <c:pt idx="4153">
                  <c:v>2119.21</c:v>
                </c:pt>
                <c:pt idx="4154">
                  <c:v>2114.15</c:v>
                </c:pt>
                <c:pt idx="4155">
                  <c:v>2102.15</c:v>
                </c:pt>
                <c:pt idx="4156">
                  <c:v>2079.65</c:v>
                </c:pt>
                <c:pt idx="4157">
                  <c:v>2067.64</c:v>
                </c:pt>
                <c:pt idx="4158">
                  <c:v>2093.25</c:v>
                </c:pt>
                <c:pt idx="4159">
                  <c:v>2108.5700000000002</c:v>
                </c:pt>
                <c:pt idx="4160">
                  <c:v>2108.63</c:v>
                </c:pt>
                <c:pt idx="4161">
                  <c:v>2103.84</c:v>
                </c:pt>
                <c:pt idx="4162">
                  <c:v>2098.04</c:v>
                </c:pt>
                <c:pt idx="4163">
                  <c:v>2093.3200000000002</c:v>
                </c:pt>
                <c:pt idx="4164">
                  <c:v>2099.84</c:v>
                </c:pt>
                <c:pt idx="4165">
                  <c:v>2083.56</c:v>
                </c:pt>
                <c:pt idx="4166">
                  <c:v>2077.5700000000002</c:v>
                </c:pt>
                <c:pt idx="4167">
                  <c:v>2104.1799999999998</c:v>
                </c:pt>
                <c:pt idx="4168">
                  <c:v>2084.0700000000002</c:v>
                </c:pt>
                <c:pt idx="4169">
                  <c:v>2086.0500000000002</c:v>
                </c:pt>
                <c:pt idx="4170">
                  <c:v>2083.39</c:v>
                </c:pt>
                <c:pt idx="4171">
                  <c:v>2091.54</c:v>
                </c:pt>
                <c:pt idx="4172">
                  <c:v>2102.44</c:v>
                </c:pt>
                <c:pt idx="4173">
                  <c:v>2096.92</c:v>
                </c:pt>
                <c:pt idx="4174">
                  <c:v>2079.61</c:v>
                </c:pt>
                <c:pt idx="4175">
                  <c:v>2035.73</c:v>
                </c:pt>
                <c:pt idx="4176">
                  <c:v>1970.89</c:v>
                </c:pt>
                <c:pt idx="4177">
                  <c:v>1893.21</c:v>
                </c:pt>
                <c:pt idx="4178">
                  <c:v>1867.61</c:v>
                </c:pt>
                <c:pt idx="4179">
                  <c:v>1940.51</c:v>
                </c:pt>
                <c:pt idx="4180">
                  <c:v>1987.66</c:v>
                </c:pt>
                <c:pt idx="4181">
                  <c:v>1988.87</c:v>
                </c:pt>
                <c:pt idx="4182">
                  <c:v>1972.18</c:v>
                </c:pt>
                <c:pt idx="4183">
                  <c:v>1913.85</c:v>
                </c:pt>
                <c:pt idx="4184">
                  <c:v>1948.86</c:v>
                </c:pt>
                <c:pt idx="4185">
                  <c:v>1951.13</c:v>
                </c:pt>
                <c:pt idx="4186">
                  <c:v>1921.22</c:v>
                </c:pt>
                <c:pt idx="4187">
                  <c:v>1921.22</c:v>
                </c:pt>
                <c:pt idx="4188">
                  <c:v>1969.41</c:v>
                </c:pt>
                <c:pt idx="4189">
                  <c:v>1942.04</c:v>
                </c:pt>
                <c:pt idx="4190">
                  <c:v>1952.29</c:v>
                </c:pt>
                <c:pt idx="4191">
                  <c:v>1961.05</c:v>
                </c:pt>
                <c:pt idx="4192">
                  <c:v>1953.03</c:v>
                </c:pt>
                <c:pt idx="4193">
                  <c:v>1978.09</c:v>
                </c:pt>
                <c:pt idx="4194">
                  <c:v>1995.31</c:v>
                </c:pt>
                <c:pt idx="4195">
                  <c:v>1990.2</c:v>
                </c:pt>
                <c:pt idx="4196">
                  <c:v>1958.03</c:v>
                </c:pt>
                <c:pt idx="4197">
                  <c:v>1966.97</c:v>
                </c:pt>
                <c:pt idx="4198">
                  <c:v>1942.74</c:v>
                </c:pt>
                <c:pt idx="4199">
                  <c:v>1938.76</c:v>
                </c:pt>
                <c:pt idx="4200">
                  <c:v>1932.24</c:v>
                </c:pt>
                <c:pt idx="4201">
                  <c:v>1931.34</c:v>
                </c:pt>
                <c:pt idx="4202">
                  <c:v>1881.77</c:v>
                </c:pt>
                <c:pt idx="4203">
                  <c:v>1884.09</c:v>
                </c:pt>
                <c:pt idx="4204">
                  <c:v>1920.03</c:v>
                </c:pt>
                <c:pt idx="4205">
                  <c:v>1923.82</c:v>
                </c:pt>
                <c:pt idx="4206">
                  <c:v>1951.36</c:v>
                </c:pt>
                <c:pt idx="4207">
                  <c:v>1987.05</c:v>
                </c:pt>
                <c:pt idx="4208">
                  <c:v>1979.92</c:v>
                </c:pt>
                <c:pt idx="4209">
                  <c:v>1995.83</c:v>
                </c:pt>
                <c:pt idx="4210">
                  <c:v>2013.43</c:v>
                </c:pt>
                <c:pt idx="4211">
                  <c:v>2014.89</c:v>
                </c:pt>
                <c:pt idx="4212">
                  <c:v>2017.46</c:v>
                </c:pt>
                <c:pt idx="4213">
                  <c:v>2003.69</c:v>
                </c:pt>
                <c:pt idx="4214">
                  <c:v>1994.24</c:v>
                </c:pt>
                <c:pt idx="4215">
                  <c:v>2023.86</c:v>
                </c:pt>
                <c:pt idx="4216">
                  <c:v>2033.11</c:v>
                </c:pt>
                <c:pt idx="4217">
                  <c:v>2033.66</c:v>
                </c:pt>
                <c:pt idx="4218">
                  <c:v>2030.77</c:v>
                </c:pt>
                <c:pt idx="4219">
                  <c:v>2018.94</c:v>
                </c:pt>
                <c:pt idx="4220">
                  <c:v>2052.5100000000002</c:v>
                </c:pt>
                <c:pt idx="4221">
                  <c:v>2075.15</c:v>
                </c:pt>
                <c:pt idx="4222">
                  <c:v>2071.1799999999998</c:v>
                </c:pt>
                <c:pt idx="4223">
                  <c:v>2065.89</c:v>
                </c:pt>
                <c:pt idx="4224">
                  <c:v>2090.35</c:v>
                </c:pt>
                <c:pt idx="4225">
                  <c:v>2089.41</c:v>
                </c:pt>
                <c:pt idx="4226">
                  <c:v>2079.36</c:v>
                </c:pt>
                <c:pt idx="4227">
                  <c:v>2104.0500000000002</c:v>
                </c:pt>
                <c:pt idx="4228">
                  <c:v>2109.79</c:v>
                </c:pt>
                <c:pt idx="4229">
                  <c:v>2102.31</c:v>
                </c:pt>
                <c:pt idx="4230">
                  <c:v>2099.9299999999998</c:v>
                </c:pt>
                <c:pt idx="4231">
                  <c:v>2099.1999999999998</c:v>
                </c:pt>
                <c:pt idx="4232">
                  <c:v>2078.58</c:v>
                </c:pt>
                <c:pt idx="4233">
                  <c:v>2081.7199999999998</c:v>
                </c:pt>
                <c:pt idx="4234">
                  <c:v>2075</c:v>
                </c:pt>
                <c:pt idx="4235">
                  <c:v>2045.97</c:v>
                </c:pt>
                <c:pt idx="4236">
                  <c:v>2023.04</c:v>
                </c:pt>
                <c:pt idx="4237">
                  <c:v>2053.19</c:v>
                </c:pt>
                <c:pt idx="4238">
                  <c:v>2050.44</c:v>
                </c:pt>
                <c:pt idx="4239">
                  <c:v>2083.58</c:v>
                </c:pt>
                <c:pt idx="4240">
                  <c:v>2081.2399999999998</c:v>
                </c:pt>
                <c:pt idx="4241">
                  <c:v>2089.17</c:v>
                </c:pt>
                <c:pt idx="4242">
                  <c:v>2086.59</c:v>
                </c:pt>
                <c:pt idx="4243">
                  <c:v>2089.14</c:v>
                </c:pt>
                <c:pt idx="4244">
                  <c:v>2088.87</c:v>
                </c:pt>
                <c:pt idx="4245">
                  <c:v>2088.87</c:v>
                </c:pt>
                <c:pt idx="4246">
                  <c:v>2090.11</c:v>
                </c:pt>
                <c:pt idx="4247">
                  <c:v>2080.41</c:v>
                </c:pt>
                <c:pt idx="4248">
                  <c:v>2102.63</c:v>
                </c:pt>
                <c:pt idx="4249">
                  <c:v>2079.5100000000002</c:v>
                </c:pt>
                <c:pt idx="4250">
                  <c:v>2049.62</c:v>
                </c:pt>
                <c:pt idx="4251">
                  <c:v>2091.69</c:v>
                </c:pt>
                <c:pt idx="4252">
                  <c:v>2077.0700000000002</c:v>
                </c:pt>
                <c:pt idx="4253">
                  <c:v>2063.59</c:v>
                </c:pt>
                <c:pt idx="4254">
                  <c:v>2047.62</c:v>
                </c:pt>
                <c:pt idx="4255">
                  <c:v>2052.23</c:v>
                </c:pt>
                <c:pt idx="4256">
                  <c:v>2012.37</c:v>
                </c:pt>
                <c:pt idx="4257">
                  <c:v>2021.94</c:v>
                </c:pt>
                <c:pt idx="4258">
                  <c:v>2043.41</c:v>
                </c:pt>
                <c:pt idx="4259">
                  <c:v>2073.0700000000002</c:v>
                </c:pt>
                <c:pt idx="4260">
                  <c:v>2041.89</c:v>
                </c:pt>
                <c:pt idx="4261">
                  <c:v>2005.55</c:v>
                </c:pt>
                <c:pt idx="4262">
                  <c:v>2021.15</c:v>
                </c:pt>
                <c:pt idx="4263">
                  <c:v>2038.97</c:v>
                </c:pt>
                <c:pt idx="4264">
                  <c:v>2064.29</c:v>
                </c:pt>
                <c:pt idx="4265">
                  <c:v>2060.9899999999998</c:v>
                </c:pt>
                <c:pt idx="4266">
                  <c:v>2060.9899999999998</c:v>
                </c:pt>
                <c:pt idx="4267">
                  <c:v>2056.5</c:v>
                </c:pt>
                <c:pt idx="4268">
                  <c:v>2078.36</c:v>
                </c:pt>
                <c:pt idx="4269">
                  <c:v>2063.36</c:v>
                </c:pt>
                <c:pt idx="4270">
                  <c:v>2043.94</c:v>
                </c:pt>
                <c:pt idx="4271">
                  <c:v>2043.94</c:v>
                </c:pt>
                <c:pt idx="4272">
                  <c:v>2012.66</c:v>
                </c:pt>
                <c:pt idx="4273">
                  <c:v>2016.71</c:v>
                </c:pt>
                <c:pt idx="4274">
                  <c:v>1990.26</c:v>
                </c:pt>
                <c:pt idx="4275">
                  <c:v>1943.09</c:v>
                </c:pt>
                <c:pt idx="4276">
                  <c:v>1922.03</c:v>
                </c:pt>
                <c:pt idx="4277">
                  <c:v>1923.67</c:v>
                </c:pt>
                <c:pt idx="4278">
                  <c:v>1938.68</c:v>
                </c:pt>
                <c:pt idx="4279">
                  <c:v>1890.28</c:v>
                </c:pt>
                <c:pt idx="4280">
                  <c:v>1921.84</c:v>
                </c:pt>
                <c:pt idx="4281">
                  <c:v>1880.33</c:v>
                </c:pt>
                <c:pt idx="4282">
                  <c:v>1880.33</c:v>
                </c:pt>
                <c:pt idx="4283">
                  <c:v>1881.33</c:v>
                </c:pt>
                <c:pt idx="4284">
                  <c:v>1859.33</c:v>
                </c:pt>
                <c:pt idx="4285">
                  <c:v>1868.99</c:v>
                </c:pt>
                <c:pt idx="4286">
                  <c:v>1906.9</c:v>
                </c:pt>
                <c:pt idx="4287">
                  <c:v>1877.08</c:v>
                </c:pt>
                <c:pt idx="4288">
                  <c:v>1903.63</c:v>
                </c:pt>
                <c:pt idx="4289">
                  <c:v>1882.95</c:v>
                </c:pt>
                <c:pt idx="4290">
                  <c:v>1893.36</c:v>
                </c:pt>
                <c:pt idx="4291">
                  <c:v>1940.24</c:v>
                </c:pt>
                <c:pt idx="4292">
                  <c:v>1939.38</c:v>
                </c:pt>
                <c:pt idx="4293">
                  <c:v>1903.03</c:v>
                </c:pt>
                <c:pt idx="4294">
                  <c:v>1912.53</c:v>
                </c:pt>
                <c:pt idx="4295">
                  <c:v>1915.45</c:v>
                </c:pt>
                <c:pt idx="4296">
                  <c:v>1880.05</c:v>
                </c:pt>
                <c:pt idx="4297">
                  <c:v>1853.44</c:v>
                </c:pt>
                <c:pt idx="4298">
                  <c:v>1852.21</c:v>
                </c:pt>
                <c:pt idx="4299">
                  <c:v>1851.86</c:v>
                </c:pt>
                <c:pt idx="4300">
                  <c:v>1829.08</c:v>
                </c:pt>
                <c:pt idx="4301">
                  <c:v>1864.78</c:v>
                </c:pt>
                <c:pt idx="4302">
                  <c:v>1864.78</c:v>
                </c:pt>
                <c:pt idx="4303">
                  <c:v>1895.58</c:v>
                </c:pt>
                <c:pt idx="4304">
                  <c:v>1926.82</c:v>
                </c:pt>
                <c:pt idx="4305">
                  <c:v>1917.83</c:v>
                </c:pt>
                <c:pt idx="4306">
                  <c:v>1917.78</c:v>
                </c:pt>
                <c:pt idx="4307">
                  <c:v>1945.5</c:v>
                </c:pt>
                <c:pt idx="4308">
                  <c:v>1921.27</c:v>
                </c:pt>
                <c:pt idx="4309">
                  <c:v>1929.8</c:v>
                </c:pt>
                <c:pt idx="4310">
                  <c:v>1951.7</c:v>
                </c:pt>
                <c:pt idx="4311">
                  <c:v>1948.05</c:v>
                </c:pt>
                <c:pt idx="4312">
                  <c:v>1932.23</c:v>
                </c:pt>
                <c:pt idx="4313">
                  <c:v>1978.35</c:v>
                </c:pt>
                <c:pt idx="4314">
                  <c:v>1986.45</c:v>
                </c:pt>
                <c:pt idx="4315">
                  <c:v>1993.4</c:v>
                </c:pt>
                <c:pt idx="4316">
                  <c:v>1999.99</c:v>
                </c:pt>
                <c:pt idx="4317">
                  <c:v>2001.76</c:v>
                </c:pt>
                <c:pt idx="4318">
                  <c:v>1979.26</c:v>
                </c:pt>
                <c:pt idx="4319">
                  <c:v>1989.26</c:v>
                </c:pt>
                <c:pt idx="4320">
                  <c:v>1989.57</c:v>
                </c:pt>
                <c:pt idx="4321">
                  <c:v>2022.19</c:v>
                </c:pt>
                <c:pt idx="4322">
                  <c:v>2019.64</c:v>
                </c:pt>
                <c:pt idx="4323">
                  <c:v>2015.93</c:v>
                </c:pt>
                <c:pt idx="4324">
                  <c:v>2027.22</c:v>
                </c:pt>
                <c:pt idx="4325">
                  <c:v>2040.59</c:v>
                </c:pt>
                <c:pt idx="4326">
                  <c:v>2049.58</c:v>
                </c:pt>
                <c:pt idx="4327">
                  <c:v>2051.6</c:v>
                </c:pt>
                <c:pt idx="4328">
                  <c:v>2049.8000000000002</c:v>
                </c:pt>
                <c:pt idx="4329">
                  <c:v>2036.71</c:v>
                </c:pt>
                <c:pt idx="4330">
                  <c:v>2035.94</c:v>
                </c:pt>
                <c:pt idx="4331">
                  <c:v>2035.94</c:v>
                </c:pt>
                <c:pt idx="4332">
                  <c:v>2037.05</c:v>
                </c:pt>
                <c:pt idx="4333">
                  <c:v>2055.0100000000002</c:v>
                </c:pt>
                <c:pt idx="4334">
                  <c:v>2063.9499999999998</c:v>
                </c:pt>
                <c:pt idx="4335">
                  <c:v>2059.7399999999998</c:v>
                </c:pt>
                <c:pt idx="4336">
                  <c:v>2072.7800000000002</c:v>
                </c:pt>
                <c:pt idx="4337">
                  <c:v>2066.13</c:v>
                </c:pt>
                <c:pt idx="4338">
                  <c:v>2045.17</c:v>
                </c:pt>
                <c:pt idx="4339">
                  <c:v>2066.66</c:v>
                </c:pt>
                <c:pt idx="4340">
                  <c:v>2041.91</c:v>
                </c:pt>
                <c:pt idx="4341">
                  <c:v>2047.6</c:v>
                </c:pt>
                <c:pt idx="4342">
                  <c:v>2041.99</c:v>
                </c:pt>
                <c:pt idx="4343">
                  <c:v>2061.7199999999998</c:v>
                </c:pt>
                <c:pt idx="4344">
                  <c:v>2082.42</c:v>
                </c:pt>
                <c:pt idx="4345">
                  <c:v>2082.7800000000002</c:v>
                </c:pt>
                <c:pt idx="4346">
                  <c:v>2080.73</c:v>
                </c:pt>
                <c:pt idx="4347">
                  <c:v>2094.34</c:v>
                </c:pt>
                <c:pt idx="4348">
                  <c:v>2100.8000000000002</c:v>
                </c:pt>
                <c:pt idx="4349">
                  <c:v>2102.4</c:v>
                </c:pt>
                <c:pt idx="4350">
                  <c:v>2091.48</c:v>
                </c:pt>
                <c:pt idx="4351">
                  <c:v>2091.58</c:v>
                </c:pt>
                <c:pt idx="4352">
                  <c:v>2087.79</c:v>
                </c:pt>
                <c:pt idx="4353">
                  <c:v>2091.6999999999998</c:v>
                </c:pt>
                <c:pt idx="4354">
                  <c:v>2095.15</c:v>
                </c:pt>
                <c:pt idx="4355">
                  <c:v>2075.81</c:v>
                </c:pt>
                <c:pt idx="4356">
                  <c:v>2065.3000000000002</c:v>
                </c:pt>
                <c:pt idx="4357">
                  <c:v>2081.4299999999998</c:v>
                </c:pt>
                <c:pt idx="4358">
                  <c:v>2063.37</c:v>
                </c:pt>
                <c:pt idx="4359">
                  <c:v>2051.12</c:v>
                </c:pt>
                <c:pt idx="4360">
                  <c:v>2050.63</c:v>
                </c:pt>
                <c:pt idx="4361">
                  <c:v>2057.14</c:v>
                </c:pt>
                <c:pt idx="4362">
                  <c:v>2058.69</c:v>
                </c:pt>
                <c:pt idx="4363">
                  <c:v>2084.39</c:v>
                </c:pt>
                <c:pt idx="4364">
                  <c:v>2064.46</c:v>
                </c:pt>
                <c:pt idx="4365">
                  <c:v>2064.11</c:v>
                </c:pt>
                <c:pt idx="4366">
                  <c:v>2046.61</c:v>
                </c:pt>
                <c:pt idx="4367">
                  <c:v>2066.66</c:v>
                </c:pt>
                <c:pt idx="4368">
                  <c:v>2047.21</c:v>
                </c:pt>
                <c:pt idx="4369">
                  <c:v>2047.63</c:v>
                </c:pt>
                <c:pt idx="4370">
                  <c:v>2040.04</c:v>
                </c:pt>
                <c:pt idx="4371">
                  <c:v>2052.3200000000002</c:v>
                </c:pt>
                <c:pt idx="4372">
                  <c:v>2048.04</c:v>
                </c:pt>
                <c:pt idx="4373">
                  <c:v>2076.06</c:v>
                </c:pt>
                <c:pt idx="4374">
                  <c:v>2090.54</c:v>
                </c:pt>
                <c:pt idx="4375">
                  <c:v>2090.1</c:v>
                </c:pt>
                <c:pt idx="4376">
                  <c:v>2099.06</c:v>
                </c:pt>
                <c:pt idx="4377">
                  <c:v>2099.06</c:v>
                </c:pt>
                <c:pt idx="4378">
                  <c:v>2096.96</c:v>
                </c:pt>
                <c:pt idx="4379">
                  <c:v>2099.33</c:v>
                </c:pt>
                <c:pt idx="4380">
                  <c:v>2105.2600000000002</c:v>
                </c:pt>
                <c:pt idx="4381">
                  <c:v>2099.13</c:v>
                </c:pt>
                <c:pt idx="4382">
                  <c:v>2109.41</c:v>
                </c:pt>
                <c:pt idx="4383">
                  <c:v>2112.13</c:v>
                </c:pt>
                <c:pt idx="4384">
                  <c:v>2119.12</c:v>
                </c:pt>
                <c:pt idx="4385">
                  <c:v>2115.48</c:v>
                </c:pt>
                <c:pt idx="4386">
                  <c:v>2096.0700000000002</c:v>
                </c:pt>
                <c:pt idx="4387">
                  <c:v>2079.06</c:v>
                </c:pt>
                <c:pt idx="4388">
                  <c:v>2075.3200000000002</c:v>
                </c:pt>
                <c:pt idx="4389">
                  <c:v>2071.5</c:v>
                </c:pt>
                <c:pt idx="4390">
                  <c:v>2077.9899999999998</c:v>
                </c:pt>
                <c:pt idx="4391">
                  <c:v>2071.2199999999998</c:v>
                </c:pt>
                <c:pt idx="4392">
                  <c:v>2083.25</c:v>
                </c:pt>
                <c:pt idx="4393">
                  <c:v>2088.9</c:v>
                </c:pt>
                <c:pt idx="4394">
                  <c:v>2085.4499999999998</c:v>
                </c:pt>
                <c:pt idx="4395">
                  <c:v>2113.3200000000002</c:v>
                </c:pt>
                <c:pt idx="4396">
                  <c:v>2037.41</c:v>
                </c:pt>
                <c:pt idx="4397">
                  <c:v>2000.54</c:v>
                </c:pt>
                <c:pt idx="4398">
                  <c:v>2036.09</c:v>
                </c:pt>
                <c:pt idx="4399">
                  <c:v>2070.77</c:v>
                </c:pt>
                <c:pt idx="4400">
                  <c:v>2098.86</c:v>
                </c:pt>
                <c:pt idx="4401">
                  <c:v>2102.9499999999998</c:v>
                </c:pt>
                <c:pt idx="4402">
                  <c:v>2102.9499999999998</c:v>
                </c:pt>
                <c:pt idx="4403">
                  <c:v>2088.5500000000002</c:v>
                </c:pt>
                <c:pt idx="4404">
                  <c:v>2099.73</c:v>
                </c:pt>
                <c:pt idx="4405">
                  <c:v>2097.9</c:v>
                </c:pt>
                <c:pt idx="4406">
                  <c:v>2129.9</c:v>
                </c:pt>
                <c:pt idx="4407">
                  <c:v>2137.16</c:v>
                </c:pt>
                <c:pt idx="4408">
                  <c:v>2152.14</c:v>
                </c:pt>
                <c:pt idx="4409">
                  <c:v>2152.4299999999998</c:v>
                </c:pt>
                <c:pt idx="4410">
                  <c:v>2163.75</c:v>
                </c:pt>
                <c:pt idx="4411">
                  <c:v>2161.7399999999998</c:v>
                </c:pt>
                <c:pt idx="4412">
                  <c:v>2166.89</c:v>
                </c:pt>
                <c:pt idx="4413">
                  <c:v>2163.7800000000002</c:v>
                </c:pt>
                <c:pt idx="4414">
                  <c:v>2173.02</c:v>
                </c:pt>
                <c:pt idx="4415">
                  <c:v>2165.17</c:v>
                </c:pt>
                <c:pt idx="4416">
                  <c:v>2175.0300000000002</c:v>
                </c:pt>
                <c:pt idx="4417">
                  <c:v>2168.48</c:v>
                </c:pt>
                <c:pt idx="4418">
                  <c:v>2169.1799999999998</c:v>
                </c:pt>
                <c:pt idx="4419">
                  <c:v>2166.58</c:v>
                </c:pt>
                <c:pt idx="4420">
                  <c:v>2170.06</c:v>
                </c:pt>
                <c:pt idx="4421">
                  <c:v>2173.6</c:v>
                </c:pt>
                <c:pt idx="4422">
                  <c:v>2170.84</c:v>
                </c:pt>
                <c:pt idx="4423">
                  <c:v>2157.0300000000002</c:v>
                </c:pt>
                <c:pt idx="4424">
                  <c:v>2163.79</c:v>
                </c:pt>
                <c:pt idx="4425">
                  <c:v>2164.25</c:v>
                </c:pt>
                <c:pt idx="4426">
                  <c:v>2182.87</c:v>
                </c:pt>
                <c:pt idx="4427">
                  <c:v>2180.89</c:v>
                </c:pt>
                <c:pt idx="4428">
                  <c:v>2181.7399999999998</c:v>
                </c:pt>
                <c:pt idx="4429">
                  <c:v>2175.4899999999998</c:v>
                </c:pt>
                <c:pt idx="4430">
                  <c:v>2185.79</c:v>
                </c:pt>
                <c:pt idx="4431">
                  <c:v>2184.0500000000002</c:v>
                </c:pt>
                <c:pt idx="4432">
                  <c:v>2190.15</c:v>
                </c:pt>
                <c:pt idx="4433">
                  <c:v>2178.15</c:v>
                </c:pt>
                <c:pt idx="4434">
                  <c:v>2182.2199999999998</c:v>
                </c:pt>
                <c:pt idx="4435">
                  <c:v>2187.02</c:v>
                </c:pt>
                <c:pt idx="4436">
                  <c:v>2183.87</c:v>
                </c:pt>
                <c:pt idx="4437">
                  <c:v>2182.64</c:v>
                </c:pt>
                <c:pt idx="4438">
                  <c:v>2186.9</c:v>
                </c:pt>
                <c:pt idx="4439">
                  <c:v>2175.44</c:v>
                </c:pt>
                <c:pt idx="4440">
                  <c:v>2172.4699999999998</c:v>
                </c:pt>
                <c:pt idx="4441">
                  <c:v>2169.04</c:v>
                </c:pt>
                <c:pt idx="4442">
                  <c:v>2180.38</c:v>
                </c:pt>
                <c:pt idx="4443">
                  <c:v>2176.12</c:v>
                </c:pt>
                <c:pt idx="4444">
                  <c:v>2170.9499999999998</c:v>
                </c:pt>
                <c:pt idx="4445">
                  <c:v>2170.86</c:v>
                </c:pt>
                <c:pt idx="4446">
                  <c:v>2179.98</c:v>
                </c:pt>
                <c:pt idx="4447">
                  <c:v>2179.98</c:v>
                </c:pt>
                <c:pt idx="4448">
                  <c:v>2186.48</c:v>
                </c:pt>
                <c:pt idx="4449">
                  <c:v>2186.16</c:v>
                </c:pt>
                <c:pt idx="4450">
                  <c:v>2181.3000000000002</c:v>
                </c:pt>
                <c:pt idx="4451">
                  <c:v>2127.81</c:v>
                </c:pt>
                <c:pt idx="4452">
                  <c:v>2159.04</c:v>
                </c:pt>
                <c:pt idx="4453">
                  <c:v>2127.02</c:v>
                </c:pt>
                <c:pt idx="4454">
                  <c:v>2125.77</c:v>
                </c:pt>
                <c:pt idx="4455">
                  <c:v>2147.2600000000002</c:v>
                </c:pt>
                <c:pt idx="4456">
                  <c:v>2139.16</c:v>
                </c:pt>
                <c:pt idx="4457">
                  <c:v>2139.12</c:v>
                </c:pt>
                <c:pt idx="4458">
                  <c:v>2139.7600000000002</c:v>
                </c:pt>
                <c:pt idx="4459">
                  <c:v>2163.12</c:v>
                </c:pt>
                <c:pt idx="4460">
                  <c:v>2177.1799999999998</c:v>
                </c:pt>
                <c:pt idx="4461">
                  <c:v>2164.69</c:v>
                </c:pt>
                <c:pt idx="4462">
                  <c:v>2146.1</c:v>
                </c:pt>
                <c:pt idx="4463">
                  <c:v>2159.9299999999998</c:v>
                </c:pt>
                <c:pt idx="4464">
                  <c:v>2171.37</c:v>
                </c:pt>
                <c:pt idx="4465">
                  <c:v>2151.13</c:v>
                </c:pt>
                <c:pt idx="4466">
                  <c:v>2168.27</c:v>
                </c:pt>
                <c:pt idx="4467">
                  <c:v>2161.1999999999998</c:v>
                </c:pt>
                <c:pt idx="4468">
                  <c:v>2150.4899999999998</c:v>
                </c:pt>
                <c:pt idx="4469">
                  <c:v>2159.73</c:v>
                </c:pt>
                <c:pt idx="4470">
                  <c:v>2160.77</c:v>
                </c:pt>
                <c:pt idx="4471">
                  <c:v>2153.7399999999998</c:v>
                </c:pt>
                <c:pt idx="4472">
                  <c:v>2163.66</c:v>
                </c:pt>
                <c:pt idx="4473">
                  <c:v>2136.73</c:v>
                </c:pt>
                <c:pt idx="4474">
                  <c:v>2139.1799999999998</c:v>
                </c:pt>
                <c:pt idx="4475">
                  <c:v>2132.5500000000002</c:v>
                </c:pt>
                <c:pt idx="4476">
                  <c:v>2132.98</c:v>
                </c:pt>
                <c:pt idx="4477">
                  <c:v>2126.5</c:v>
                </c:pt>
                <c:pt idx="4478">
                  <c:v>2139.6</c:v>
                </c:pt>
                <c:pt idx="4479">
                  <c:v>2144.29</c:v>
                </c:pt>
                <c:pt idx="4480">
                  <c:v>2141.34</c:v>
                </c:pt>
                <c:pt idx="4481">
                  <c:v>2141.16</c:v>
                </c:pt>
                <c:pt idx="4482">
                  <c:v>2151.33</c:v>
                </c:pt>
                <c:pt idx="4483">
                  <c:v>2143.16</c:v>
                </c:pt>
                <c:pt idx="4484">
                  <c:v>2139.4299999999998</c:v>
                </c:pt>
                <c:pt idx="4485">
                  <c:v>2133.04</c:v>
                </c:pt>
                <c:pt idx="4486">
                  <c:v>2126.41</c:v>
                </c:pt>
                <c:pt idx="4487">
                  <c:v>2126.15</c:v>
                </c:pt>
                <c:pt idx="4488">
                  <c:v>2111.7199999999998</c:v>
                </c:pt>
                <c:pt idx="4489">
                  <c:v>2097.94</c:v>
                </c:pt>
                <c:pt idx="4490">
                  <c:v>2088.66</c:v>
                </c:pt>
                <c:pt idx="4491">
                  <c:v>2085.1799999999998</c:v>
                </c:pt>
                <c:pt idx="4492">
                  <c:v>2131.52</c:v>
                </c:pt>
                <c:pt idx="4493">
                  <c:v>2139.56</c:v>
                </c:pt>
                <c:pt idx="4494">
                  <c:v>2163.2600000000002</c:v>
                </c:pt>
                <c:pt idx="4495">
                  <c:v>2167.48</c:v>
                </c:pt>
                <c:pt idx="4496">
                  <c:v>2164.4499999999998</c:v>
                </c:pt>
                <c:pt idx="4497">
                  <c:v>2164.1999999999998</c:v>
                </c:pt>
                <c:pt idx="4498">
                  <c:v>2180.39</c:v>
                </c:pt>
                <c:pt idx="4499">
                  <c:v>2176.94</c:v>
                </c:pt>
                <c:pt idx="4500">
                  <c:v>2187.12</c:v>
                </c:pt>
                <c:pt idx="4501">
                  <c:v>2181.9</c:v>
                </c:pt>
                <c:pt idx="4502">
                  <c:v>2198.1799999999998</c:v>
                </c:pt>
                <c:pt idx="4503">
                  <c:v>2202.94</c:v>
                </c:pt>
                <c:pt idx="4504">
                  <c:v>2204.7199999999998</c:v>
                </c:pt>
                <c:pt idx="4505">
                  <c:v>2204.7199999999998</c:v>
                </c:pt>
                <c:pt idx="4506">
                  <c:v>2213.35</c:v>
                </c:pt>
                <c:pt idx="4507">
                  <c:v>2201.7199999999998</c:v>
                </c:pt>
                <c:pt idx="4508">
                  <c:v>2204.66</c:v>
                </c:pt>
                <c:pt idx="4509">
                  <c:v>2198.81</c:v>
                </c:pt>
                <c:pt idx="4510">
                  <c:v>2191.08</c:v>
                </c:pt>
                <c:pt idx="4511">
                  <c:v>2191.9499999999998</c:v>
                </c:pt>
                <c:pt idx="4512">
                  <c:v>2204.71</c:v>
                </c:pt>
                <c:pt idx="4513">
                  <c:v>2212.23</c:v>
                </c:pt>
                <c:pt idx="4514">
                  <c:v>2241.35</c:v>
                </c:pt>
                <c:pt idx="4515">
                  <c:v>2246.19</c:v>
                </c:pt>
                <c:pt idx="4516">
                  <c:v>2259.5300000000002</c:v>
                </c:pt>
                <c:pt idx="4517">
                  <c:v>2256.96</c:v>
                </c:pt>
                <c:pt idx="4518">
                  <c:v>2271.7199999999998</c:v>
                </c:pt>
                <c:pt idx="4519">
                  <c:v>2253.2800000000002</c:v>
                </c:pt>
                <c:pt idx="4520">
                  <c:v>2262.0300000000002</c:v>
                </c:pt>
                <c:pt idx="4521">
                  <c:v>2258.0700000000002</c:v>
                </c:pt>
                <c:pt idx="4522">
                  <c:v>2262.5300000000002</c:v>
                </c:pt>
                <c:pt idx="4523">
                  <c:v>2270.7600000000002</c:v>
                </c:pt>
                <c:pt idx="4524">
                  <c:v>2265.1799999999998</c:v>
                </c:pt>
                <c:pt idx="4525">
                  <c:v>2260.96</c:v>
                </c:pt>
                <c:pt idx="4526">
                  <c:v>2263.79</c:v>
                </c:pt>
                <c:pt idx="4527">
                  <c:v>2263.79</c:v>
                </c:pt>
                <c:pt idx="4528">
                  <c:v>2268.88</c:v>
                </c:pt>
                <c:pt idx="4529">
                  <c:v>2249.92</c:v>
                </c:pt>
                <c:pt idx="4530">
                  <c:v>2249.2600000000002</c:v>
                </c:pt>
                <c:pt idx="4531">
                  <c:v>2238.83</c:v>
                </c:pt>
                <c:pt idx="4532">
                  <c:v>2238.83</c:v>
                </c:pt>
                <c:pt idx="4533">
                  <c:v>2257.83</c:v>
                </c:pt>
                <c:pt idx="4534">
                  <c:v>2270.75</c:v>
                </c:pt>
                <c:pt idx="4535">
                  <c:v>2269</c:v>
                </c:pt>
                <c:pt idx="4536">
                  <c:v>2276.98</c:v>
                </c:pt>
                <c:pt idx="4537">
                  <c:v>2268.9</c:v>
                </c:pt>
                <c:pt idx="4538">
                  <c:v>2268.9</c:v>
                </c:pt>
                <c:pt idx="4539">
                  <c:v>2275.3200000000002</c:v>
                </c:pt>
                <c:pt idx="4540">
                  <c:v>2270.44</c:v>
                </c:pt>
                <c:pt idx="4541">
                  <c:v>2274.64</c:v>
                </c:pt>
                <c:pt idx="4542">
                  <c:v>2274.64</c:v>
                </c:pt>
                <c:pt idx="4543">
                  <c:v>2267.89</c:v>
                </c:pt>
                <c:pt idx="4544">
                  <c:v>2271.89</c:v>
                </c:pt>
                <c:pt idx="4545">
                  <c:v>2263.69</c:v>
                </c:pt>
                <c:pt idx="4546">
                  <c:v>2271.31</c:v>
                </c:pt>
                <c:pt idx="4547">
                  <c:v>2265.1999999999998</c:v>
                </c:pt>
                <c:pt idx="4548">
                  <c:v>2280.0700000000002</c:v>
                </c:pt>
                <c:pt idx="4549">
                  <c:v>2298.37</c:v>
                </c:pt>
                <c:pt idx="4550">
                  <c:v>2296.6799999999998</c:v>
                </c:pt>
                <c:pt idx="4551">
                  <c:v>2294.69</c:v>
                </c:pt>
                <c:pt idx="4552">
                  <c:v>2280.9</c:v>
                </c:pt>
                <c:pt idx="4553">
                  <c:v>2278.87</c:v>
                </c:pt>
                <c:pt idx="4554">
                  <c:v>2279.5500000000002</c:v>
                </c:pt>
                <c:pt idx="4555">
                  <c:v>2280.85</c:v>
                </c:pt>
                <c:pt idx="4556">
                  <c:v>2297.42</c:v>
                </c:pt>
                <c:pt idx="4557">
                  <c:v>2292.56</c:v>
                </c:pt>
                <c:pt idx="4558">
                  <c:v>2293.08</c:v>
                </c:pt>
                <c:pt idx="4559">
                  <c:v>2294.67</c:v>
                </c:pt>
                <c:pt idx="4560">
                  <c:v>2307.87</c:v>
                </c:pt>
                <c:pt idx="4561">
                  <c:v>2316.1</c:v>
                </c:pt>
                <c:pt idx="4562">
                  <c:v>2328.25</c:v>
                </c:pt>
                <c:pt idx="4563">
                  <c:v>2337.58</c:v>
                </c:pt>
                <c:pt idx="4564">
                  <c:v>2349.25</c:v>
                </c:pt>
                <c:pt idx="4565">
                  <c:v>2347.2199999999998</c:v>
                </c:pt>
                <c:pt idx="4566">
                  <c:v>2351.16</c:v>
                </c:pt>
                <c:pt idx="4567">
                  <c:v>2351.16</c:v>
                </c:pt>
                <c:pt idx="4568">
                  <c:v>2365.38</c:v>
                </c:pt>
                <c:pt idx="4569">
                  <c:v>2362.8200000000002</c:v>
                </c:pt>
                <c:pt idx="4570">
                  <c:v>2363.81</c:v>
                </c:pt>
                <c:pt idx="4571">
                  <c:v>2367.34</c:v>
                </c:pt>
                <c:pt idx="4572">
                  <c:v>2369.75</c:v>
                </c:pt>
                <c:pt idx="4573">
                  <c:v>2363.64</c:v>
                </c:pt>
                <c:pt idx="4574">
                  <c:v>2395.96</c:v>
                </c:pt>
                <c:pt idx="4575">
                  <c:v>2381.92</c:v>
                </c:pt>
                <c:pt idx="4576">
                  <c:v>2383.12</c:v>
                </c:pt>
                <c:pt idx="4577">
                  <c:v>2375.31</c:v>
                </c:pt>
                <c:pt idx="4578">
                  <c:v>2368.39</c:v>
                </c:pt>
                <c:pt idx="4579">
                  <c:v>2362.98</c:v>
                </c:pt>
                <c:pt idx="4580">
                  <c:v>2364.87</c:v>
                </c:pt>
                <c:pt idx="4581">
                  <c:v>2372.6</c:v>
                </c:pt>
                <c:pt idx="4582">
                  <c:v>2373.4699999999998</c:v>
                </c:pt>
                <c:pt idx="4583">
                  <c:v>2365.4499999999998</c:v>
                </c:pt>
                <c:pt idx="4584">
                  <c:v>2385.2600000000002</c:v>
                </c:pt>
                <c:pt idx="4585">
                  <c:v>2381.38</c:v>
                </c:pt>
                <c:pt idx="4586">
                  <c:v>2378.25</c:v>
                </c:pt>
                <c:pt idx="4587">
                  <c:v>2373.4699999999998</c:v>
                </c:pt>
                <c:pt idx="4588">
                  <c:v>2344.02</c:v>
                </c:pt>
                <c:pt idx="4589">
                  <c:v>2348.4499999999998</c:v>
                </c:pt>
                <c:pt idx="4590">
                  <c:v>2345.96</c:v>
                </c:pt>
                <c:pt idx="4591">
                  <c:v>2343.98</c:v>
                </c:pt>
                <c:pt idx="4592">
                  <c:v>2341.59</c:v>
                </c:pt>
                <c:pt idx="4593">
                  <c:v>2358.5700000000002</c:v>
                </c:pt>
                <c:pt idx="4594">
                  <c:v>2361.13</c:v>
                </c:pt>
                <c:pt idx="4595">
                  <c:v>2368.06</c:v>
                </c:pt>
                <c:pt idx="4596">
                  <c:v>2362.7199999999998</c:v>
                </c:pt>
                <c:pt idx="4597">
                  <c:v>2358.84</c:v>
                </c:pt>
                <c:pt idx="4598">
                  <c:v>2360.16</c:v>
                </c:pt>
                <c:pt idx="4599">
                  <c:v>2352.9499999999998</c:v>
                </c:pt>
                <c:pt idx="4600">
                  <c:v>2357.4899999999998</c:v>
                </c:pt>
                <c:pt idx="4601">
                  <c:v>2355.54</c:v>
                </c:pt>
                <c:pt idx="4602">
                  <c:v>2357.16</c:v>
                </c:pt>
                <c:pt idx="4603">
                  <c:v>2353.7800000000002</c:v>
                </c:pt>
                <c:pt idx="4604">
                  <c:v>2344.9299999999998</c:v>
                </c:pt>
                <c:pt idx="4605">
                  <c:v>2328.9499999999998</c:v>
                </c:pt>
                <c:pt idx="4606">
                  <c:v>2328.9499999999998</c:v>
                </c:pt>
                <c:pt idx="4607">
                  <c:v>2349.0100000000002</c:v>
                </c:pt>
                <c:pt idx="4608">
                  <c:v>2342.19</c:v>
                </c:pt>
                <c:pt idx="4609">
                  <c:v>2338.17</c:v>
                </c:pt>
                <c:pt idx="4610">
                  <c:v>2355.84</c:v>
                </c:pt>
                <c:pt idx="4611">
                  <c:v>2348.69</c:v>
                </c:pt>
                <c:pt idx="4612">
                  <c:v>2374.15</c:v>
                </c:pt>
                <c:pt idx="4613">
                  <c:v>2388.61</c:v>
                </c:pt>
                <c:pt idx="4614">
                  <c:v>2387.4499999999998</c:v>
                </c:pt>
                <c:pt idx="4615">
                  <c:v>2388.77</c:v>
                </c:pt>
                <c:pt idx="4616">
                  <c:v>2384.1999999999998</c:v>
                </c:pt>
                <c:pt idx="4617">
                  <c:v>2388.33</c:v>
                </c:pt>
                <c:pt idx="4618">
                  <c:v>2391.17</c:v>
                </c:pt>
                <c:pt idx="4619">
                  <c:v>2388.13</c:v>
                </c:pt>
                <c:pt idx="4620">
                  <c:v>2389.52</c:v>
                </c:pt>
                <c:pt idx="4621">
                  <c:v>2399.29</c:v>
                </c:pt>
                <c:pt idx="4622">
                  <c:v>2399.38</c:v>
                </c:pt>
                <c:pt idx="4623">
                  <c:v>2396.92</c:v>
                </c:pt>
                <c:pt idx="4624">
                  <c:v>2399.63</c:v>
                </c:pt>
                <c:pt idx="4625">
                  <c:v>2394.44</c:v>
                </c:pt>
                <c:pt idx="4626">
                  <c:v>2390.9</c:v>
                </c:pt>
                <c:pt idx="4627">
                  <c:v>2402.3200000000002</c:v>
                </c:pt>
                <c:pt idx="4628">
                  <c:v>2400.67</c:v>
                </c:pt>
                <c:pt idx="4629">
                  <c:v>2357.0300000000002</c:v>
                </c:pt>
                <c:pt idx="4630">
                  <c:v>2365.7199999999998</c:v>
                </c:pt>
                <c:pt idx="4631">
                  <c:v>2381.73</c:v>
                </c:pt>
                <c:pt idx="4632">
                  <c:v>2394.02</c:v>
                </c:pt>
                <c:pt idx="4633">
                  <c:v>2398.42</c:v>
                </c:pt>
                <c:pt idx="4634">
                  <c:v>2404.39</c:v>
                </c:pt>
                <c:pt idx="4635">
                  <c:v>2415.0700000000002</c:v>
                </c:pt>
                <c:pt idx="4636">
                  <c:v>2415.8200000000002</c:v>
                </c:pt>
                <c:pt idx="4637">
                  <c:v>2415.8200000000002</c:v>
                </c:pt>
                <c:pt idx="4638">
                  <c:v>2412.91</c:v>
                </c:pt>
                <c:pt idx="4639">
                  <c:v>2411.8000000000002</c:v>
                </c:pt>
                <c:pt idx="4640">
                  <c:v>2430.06</c:v>
                </c:pt>
                <c:pt idx="4641">
                  <c:v>2439.0700000000002</c:v>
                </c:pt>
                <c:pt idx="4642">
                  <c:v>2436.1</c:v>
                </c:pt>
                <c:pt idx="4643">
                  <c:v>2429.33</c:v>
                </c:pt>
                <c:pt idx="4644">
                  <c:v>2433.14</c:v>
                </c:pt>
                <c:pt idx="4645">
                  <c:v>2433.79</c:v>
                </c:pt>
                <c:pt idx="4646">
                  <c:v>2431.77</c:v>
                </c:pt>
                <c:pt idx="4647">
                  <c:v>2429.39</c:v>
                </c:pt>
                <c:pt idx="4648">
                  <c:v>2440.35</c:v>
                </c:pt>
                <c:pt idx="4649">
                  <c:v>2437.92</c:v>
                </c:pt>
                <c:pt idx="4650">
                  <c:v>2432.46</c:v>
                </c:pt>
                <c:pt idx="4651">
                  <c:v>2433.15</c:v>
                </c:pt>
                <c:pt idx="4652">
                  <c:v>2453.46</c:v>
                </c:pt>
                <c:pt idx="4653">
                  <c:v>2437.0300000000002</c:v>
                </c:pt>
                <c:pt idx="4654">
                  <c:v>2435.61</c:v>
                </c:pt>
                <c:pt idx="4655">
                  <c:v>2434.5</c:v>
                </c:pt>
                <c:pt idx="4656">
                  <c:v>2438.3000000000002</c:v>
                </c:pt>
                <c:pt idx="4657">
                  <c:v>2439.0700000000002</c:v>
                </c:pt>
                <c:pt idx="4658">
                  <c:v>2419.38</c:v>
                </c:pt>
                <c:pt idx="4659">
                  <c:v>2440.69</c:v>
                </c:pt>
                <c:pt idx="4660">
                  <c:v>2419.6999999999998</c:v>
                </c:pt>
                <c:pt idx="4661">
                  <c:v>2423.41</c:v>
                </c:pt>
                <c:pt idx="4662">
                  <c:v>2429.0100000000002</c:v>
                </c:pt>
                <c:pt idx="4663">
                  <c:v>2429.0100000000002</c:v>
                </c:pt>
                <c:pt idx="4664">
                  <c:v>2432.54</c:v>
                </c:pt>
                <c:pt idx="4665">
                  <c:v>2409.75</c:v>
                </c:pt>
                <c:pt idx="4666">
                  <c:v>2425.1799999999998</c:v>
                </c:pt>
                <c:pt idx="4667">
                  <c:v>2427.4299999999998</c:v>
                </c:pt>
                <c:pt idx="4668">
                  <c:v>2425.5300000000002</c:v>
                </c:pt>
                <c:pt idx="4669">
                  <c:v>2443.25</c:v>
                </c:pt>
                <c:pt idx="4670">
                  <c:v>2447.83</c:v>
                </c:pt>
                <c:pt idx="4671">
                  <c:v>2459.27</c:v>
                </c:pt>
                <c:pt idx="4672">
                  <c:v>2459.14</c:v>
                </c:pt>
                <c:pt idx="4673">
                  <c:v>2460.61</c:v>
                </c:pt>
                <c:pt idx="4674">
                  <c:v>2473.83</c:v>
                </c:pt>
                <c:pt idx="4675">
                  <c:v>2473.4499999999998</c:v>
                </c:pt>
                <c:pt idx="4676">
                  <c:v>2472.54</c:v>
                </c:pt>
                <c:pt idx="4677">
                  <c:v>2469.91</c:v>
                </c:pt>
                <c:pt idx="4678">
                  <c:v>2477.13</c:v>
                </c:pt>
                <c:pt idx="4679">
                  <c:v>2477.83</c:v>
                </c:pt>
                <c:pt idx="4680">
                  <c:v>2475.42</c:v>
                </c:pt>
                <c:pt idx="4681">
                  <c:v>2472.1</c:v>
                </c:pt>
                <c:pt idx="4682">
                  <c:v>2470.3000000000002</c:v>
                </c:pt>
                <c:pt idx="4683">
                  <c:v>2476.35</c:v>
                </c:pt>
                <c:pt idx="4684">
                  <c:v>2477.5700000000002</c:v>
                </c:pt>
                <c:pt idx="4685">
                  <c:v>2472.16</c:v>
                </c:pt>
                <c:pt idx="4686">
                  <c:v>2476.83</c:v>
                </c:pt>
                <c:pt idx="4687">
                  <c:v>2480.91</c:v>
                </c:pt>
                <c:pt idx="4688">
                  <c:v>2474.92</c:v>
                </c:pt>
                <c:pt idx="4689">
                  <c:v>2474.02</c:v>
                </c:pt>
                <c:pt idx="4690">
                  <c:v>2438.21</c:v>
                </c:pt>
                <c:pt idx="4691">
                  <c:v>2441.3200000000002</c:v>
                </c:pt>
                <c:pt idx="4692">
                  <c:v>2465.84</c:v>
                </c:pt>
                <c:pt idx="4693">
                  <c:v>2464.61</c:v>
                </c:pt>
                <c:pt idx="4694">
                  <c:v>2468.11</c:v>
                </c:pt>
                <c:pt idx="4695">
                  <c:v>2430.0100000000002</c:v>
                </c:pt>
                <c:pt idx="4696">
                  <c:v>2425.5500000000002</c:v>
                </c:pt>
                <c:pt idx="4697">
                  <c:v>2428.37</c:v>
                </c:pt>
                <c:pt idx="4698">
                  <c:v>2452.5100000000002</c:v>
                </c:pt>
                <c:pt idx="4699">
                  <c:v>2444.04</c:v>
                </c:pt>
                <c:pt idx="4700">
                  <c:v>2438.9699999999998</c:v>
                </c:pt>
                <c:pt idx="4701">
                  <c:v>2443.0500000000002</c:v>
                </c:pt>
                <c:pt idx="4702">
                  <c:v>2444.2399999999998</c:v>
                </c:pt>
                <c:pt idx="4703">
                  <c:v>2446.3000000000002</c:v>
                </c:pt>
                <c:pt idx="4704">
                  <c:v>2457.59</c:v>
                </c:pt>
                <c:pt idx="4705">
                  <c:v>2471.65</c:v>
                </c:pt>
                <c:pt idx="4706">
                  <c:v>2476.5500000000002</c:v>
                </c:pt>
                <c:pt idx="4707">
                  <c:v>2476.5500000000002</c:v>
                </c:pt>
                <c:pt idx="4708">
                  <c:v>2457.85</c:v>
                </c:pt>
                <c:pt idx="4709">
                  <c:v>2465.54</c:v>
                </c:pt>
                <c:pt idx="4710">
                  <c:v>2465.1</c:v>
                </c:pt>
                <c:pt idx="4711">
                  <c:v>2461.4299999999998</c:v>
                </c:pt>
                <c:pt idx="4712">
                  <c:v>2488.11</c:v>
                </c:pt>
                <c:pt idx="4713">
                  <c:v>2496.48</c:v>
                </c:pt>
                <c:pt idx="4714">
                  <c:v>2498.37</c:v>
                </c:pt>
                <c:pt idx="4715">
                  <c:v>2495.62</c:v>
                </c:pt>
                <c:pt idx="4716">
                  <c:v>2500.23</c:v>
                </c:pt>
                <c:pt idx="4717">
                  <c:v>2503.87</c:v>
                </c:pt>
                <c:pt idx="4718">
                  <c:v>2506.65</c:v>
                </c:pt>
                <c:pt idx="4719">
                  <c:v>2508.2399999999998</c:v>
                </c:pt>
                <c:pt idx="4720">
                  <c:v>2500.6</c:v>
                </c:pt>
                <c:pt idx="4721">
                  <c:v>2502.2199999999998</c:v>
                </c:pt>
                <c:pt idx="4722">
                  <c:v>2496.66</c:v>
                </c:pt>
                <c:pt idx="4723">
                  <c:v>2496.84</c:v>
                </c:pt>
                <c:pt idx="4724">
                  <c:v>2507.04</c:v>
                </c:pt>
                <c:pt idx="4725">
                  <c:v>2510.06</c:v>
                </c:pt>
                <c:pt idx="4726">
                  <c:v>2519.36</c:v>
                </c:pt>
                <c:pt idx="4727">
                  <c:v>2529.12</c:v>
                </c:pt>
                <c:pt idx="4728">
                  <c:v>2534.58</c:v>
                </c:pt>
                <c:pt idx="4729">
                  <c:v>2537.7399999999998</c:v>
                </c:pt>
                <c:pt idx="4730">
                  <c:v>2552.0700000000002</c:v>
                </c:pt>
                <c:pt idx="4731">
                  <c:v>2549.33</c:v>
                </c:pt>
                <c:pt idx="4732">
                  <c:v>2544.73</c:v>
                </c:pt>
                <c:pt idx="4733">
                  <c:v>2550.64</c:v>
                </c:pt>
                <c:pt idx="4734">
                  <c:v>2555.2399999999998</c:v>
                </c:pt>
                <c:pt idx="4735">
                  <c:v>2550.9299999999998</c:v>
                </c:pt>
                <c:pt idx="4736">
                  <c:v>2553.17</c:v>
                </c:pt>
                <c:pt idx="4737">
                  <c:v>2557.64</c:v>
                </c:pt>
                <c:pt idx="4738">
                  <c:v>2559.36</c:v>
                </c:pt>
                <c:pt idx="4739">
                  <c:v>2561.2600000000002</c:v>
                </c:pt>
                <c:pt idx="4740">
                  <c:v>2562.1</c:v>
                </c:pt>
                <c:pt idx="4741">
                  <c:v>2575.21</c:v>
                </c:pt>
                <c:pt idx="4742">
                  <c:v>2564.98</c:v>
                </c:pt>
                <c:pt idx="4743">
                  <c:v>2569.13</c:v>
                </c:pt>
                <c:pt idx="4744">
                  <c:v>2557.15</c:v>
                </c:pt>
                <c:pt idx="4745">
                  <c:v>2560.4</c:v>
                </c:pt>
                <c:pt idx="4746">
                  <c:v>2581.0700000000002</c:v>
                </c:pt>
                <c:pt idx="4747">
                  <c:v>2572.83</c:v>
                </c:pt>
                <c:pt idx="4748">
                  <c:v>2575.2600000000002</c:v>
                </c:pt>
                <c:pt idx="4749">
                  <c:v>2579.36</c:v>
                </c:pt>
                <c:pt idx="4750">
                  <c:v>2579.85</c:v>
                </c:pt>
                <c:pt idx="4751">
                  <c:v>2587.84</c:v>
                </c:pt>
                <c:pt idx="4752">
                  <c:v>2591.13</c:v>
                </c:pt>
                <c:pt idx="4753">
                  <c:v>2590.64</c:v>
                </c:pt>
                <c:pt idx="4754">
                  <c:v>2594.38</c:v>
                </c:pt>
                <c:pt idx="4755">
                  <c:v>2584.62</c:v>
                </c:pt>
                <c:pt idx="4756">
                  <c:v>2582.3000000000002</c:v>
                </c:pt>
                <c:pt idx="4757">
                  <c:v>2584.84</c:v>
                </c:pt>
                <c:pt idx="4758">
                  <c:v>2578.87</c:v>
                </c:pt>
                <c:pt idx="4759">
                  <c:v>2564.62</c:v>
                </c:pt>
                <c:pt idx="4760">
                  <c:v>2585.64</c:v>
                </c:pt>
                <c:pt idx="4761">
                  <c:v>2578.85</c:v>
                </c:pt>
                <c:pt idx="4762">
                  <c:v>2582.14</c:v>
                </c:pt>
                <c:pt idx="4763">
                  <c:v>2599.0300000000002</c:v>
                </c:pt>
                <c:pt idx="4764">
                  <c:v>2597.08</c:v>
                </c:pt>
                <c:pt idx="4765">
                  <c:v>2597.08</c:v>
                </c:pt>
                <c:pt idx="4766">
                  <c:v>2602.42</c:v>
                </c:pt>
                <c:pt idx="4767">
                  <c:v>2601.42</c:v>
                </c:pt>
                <c:pt idx="4768">
                  <c:v>2627.04</c:v>
                </c:pt>
                <c:pt idx="4769">
                  <c:v>2626.07</c:v>
                </c:pt>
                <c:pt idx="4770">
                  <c:v>2647.58</c:v>
                </c:pt>
                <c:pt idx="4771">
                  <c:v>2642.22</c:v>
                </c:pt>
                <c:pt idx="4772">
                  <c:v>2639.44</c:v>
                </c:pt>
                <c:pt idx="4773">
                  <c:v>2629.57</c:v>
                </c:pt>
                <c:pt idx="4774">
                  <c:v>2629.27</c:v>
                </c:pt>
                <c:pt idx="4775">
                  <c:v>2636.98</c:v>
                </c:pt>
                <c:pt idx="4776">
                  <c:v>2651.5</c:v>
                </c:pt>
                <c:pt idx="4777">
                  <c:v>2659.99</c:v>
                </c:pt>
                <c:pt idx="4778">
                  <c:v>2664.11</c:v>
                </c:pt>
                <c:pt idx="4779">
                  <c:v>2662.85</c:v>
                </c:pt>
                <c:pt idx="4780">
                  <c:v>2652.01</c:v>
                </c:pt>
                <c:pt idx="4781">
                  <c:v>2675.81</c:v>
                </c:pt>
                <c:pt idx="4782">
                  <c:v>2690.16</c:v>
                </c:pt>
                <c:pt idx="4783">
                  <c:v>2681.47</c:v>
                </c:pt>
                <c:pt idx="4784">
                  <c:v>2679.25</c:v>
                </c:pt>
                <c:pt idx="4785">
                  <c:v>2684.57</c:v>
                </c:pt>
                <c:pt idx="4786">
                  <c:v>2683.34</c:v>
                </c:pt>
                <c:pt idx="4787">
                  <c:v>2683.34</c:v>
                </c:pt>
                <c:pt idx="4788">
                  <c:v>2680.5</c:v>
                </c:pt>
                <c:pt idx="4789">
                  <c:v>2682.62</c:v>
                </c:pt>
                <c:pt idx="4790">
                  <c:v>2687.54</c:v>
                </c:pt>
                <c:pt idx="4791">
                  <c:v>2673.61</c:v>
                </c:pt>
                <c:pt idx="4792">
                  <c:v>2673.61</c:v>
                </c:pt>
                <c:pt idx="4793">
                  <c:v>2695.81</c:v>
                </c:pt>
                <c:pt idx="4794">
                  <c:v>2713.06</c:v>
                </c:pt>
                <c:pt idx="4795">
                  <c:v>2723.99</c:v>
                </c:pt>
                <c:pt idx="4796">
                  <c:v>2743.15</c:v>
                </c:pt>
                <c:pt idx="4797">
                  <c:v>2747.71</c:v>
                </c:pt>
                <c:pt idx="4798">
                  <c:v>2751.29</c:v>
                </c:pt>
                <c:pt idx="4799">
                  <c:v>2748.23</c:v>
                </c:pt>
                <c:pt idx="4800">
                  <c:v>2767.56</c:v>
                </c:pt>
                <c:pt idx="4801">
                  <c:v>2786.24</c:v>
                </c:pt>
                <c:pt idx="4802">
                  <c:v>2786.24</c:v>
                </c:pt>
                <c:pt idx="4803">
                  <c:v>2776.42</c:v>
                </c:pt>
                <c:pt idx="4804">
                  <c:v>2802.56</c:v>
                </c:pt>
                <c:pt idx="4805">
                  <c:v>2798.03</c:v>
                </c:pt>
                <c:pt idx="4806">
                  <c:v>2810.3</c:v>
                </c:pt>
                <c:pt idx="4807">
                  <c:v>2832.97</c:v>
                </c:pt>
                <c:pt idx="4808">
                  <c:v>2839.13</c:v>
                </c:pt>
                <c:pt idx="4809">
                  <c:v>2837.54</c:v>
                </c:pt>
                <c:pt idx="4810">
                  <c:v>2839.25</c:v>
                </c:pt>
                <c:pt idx="4811">
                  <c:v>2872.87</c:v>
                </c:pt>
                <c:pt idx="4812">
                  <c:v>2853.53</c:v>
                </c:pt>
                <c:pt idx="4813">
                  <c:v>2822.43</c:v>
                </c:pt>
                <c:pt idx="4814">
                  <c:v>2823.81</c:v>
                </c:pt>
                <c:pt idx="4815">
                  <c:v>2821.98</c:v>
                </c:pt>
                <c:pt idx="4816">
                  <c:v>2762.13</c:v>
                </c:pt>
                <c:pt idx="4817">
                  <c:v>2648.94</c:v>
                </c:pt>
                <c:pt idx="4818">
                  <c:v>2695.14</c:v>
                </c:pt>
                <c:pt idx="4819">
                  <c:v>2681.66</c:v>
                </c:pt>
                <c:pt idx="4820">
                  <c:v>2581</c:v>
                </c:pt>
                <c:pt idx="4821">
                  <c:v>2619.5500000000002</c:v>
                </c:pt>
                <c:pt idx="4822">
                  <c:v>2656</c:v>
                </c:pt>
                <c:pt idx="4823">
                  <c:v>2662.94</c:v>
                </c:pt>
                <c:pt idx="4824">
                  <c:v>2698.63</c:v>
                </c:pt>
                <c:pt idx="4825">
                  <c:v>2731.2</c:v>
                </c:pt>
                <c:pt idx="4826">
                  <c:v>2732.22</c:v>
                </c:pt>
                <c:pt idx="4827">
                  <c:v>2732.22</c:v>
                </c:pt>
                <c:pt idx="4828">
                  <c:v>2716.26</c:v>
                </c:pt>
                <c:pt idx="4829">
                  <c:v>2701.33</c:v>
                </c:pt>
                <c:pt idx="4830">
                  <c:v>2703.96</c:v>
                </c:pt>
                <c:pt idx="4831">
                  <c:v>2747.3</c:v>
                </c:pt>
                <c:pt idx="4832">
                  <c:v>2779.6</c:v>
                </c:pt>
                <c:pt idx="4833">
                  <c:v>2744.28</c:v>
                </c:pt>
                <c:pt idx="4834">
                  <c:v>2713.83</c:v>
                </c:pt>
                <c:pt idx="4835">
                  <c:v>2677.67</c:v>
                </c:pt>
                <c:pt idx="4836">
                  <c:v>2691.25</c:v>
                </c:pt>
                <c:pt idx="4837">
                  <c:v>2720.94</c:v>
                </c:pt>
                <c:pt idx="4838">
                  <c:v>2728.12</c:v>
                </c:pt>
                <c:pt idx="4839">
                  <c:v>2726.8</c:v>
                </c:pt>
                <c:pt idx="4840">
                  <c:v>2738.97</c:v>
                </c:pt>
                <c:pt idx="4841">
                  <c:v>2786.57</c:v>
                </c:pt>
                <c:pt idx="4842">
                  <c:v>2783.02</c:v>
                </c:pt>
                <c:pt idx="4843">
                  <c:v>2765.31</c:v>
                </c:pt>
                <c:pt idx="4844">
                  <c:v>2749.48</c:v>
                </c:pt>
                <c:pt idx="4845">
                  <c:v>2747.33</c:v>
                </c:pt>
                <c:pt idx="4846">
                  <c:v>2752.01</c:v>
                </c:pt>
                <c:pt idx="4847">
                  <c:v>2712.92</c:v>
                </c:pt>
                <c:pt idx="4848">
                  <c:v>2716.94</c:v>
                </c:pt>
                <c:pt idx="4849">
                  <c:v>2711.93</c:v>
                </c:pt>
                <c:pt idx="4850">
                  <c:v>2643.69</c:v>
                </c:pt>
                <c:pt idx="4851">
                  <c:v>2588.2600000000002</c:v>
                </c:pt>
                <c:pt idx="4852">
                  <c:v>2658.55</c:v>
                </c:pt>
                <c:pt idx="4853">
                  <c:v>2612.62</c:v>
                </c:pt>
                <c:pt idx="4854">
                  <c:v>2605</c:v>
                </c:pt>
                <c:pt idx="4855">
                  <c:v>2640.87</c:v>
                </c:pt>
                <c:pt idx="4856">
                  <c:v>2640.87</c:v>
                </c:pt>
                <c:pt idx="4857">
                  <c:v>2581.88</c:v>
                </c:pt>
                <c:pt idx="4858">
                  <c:v>2614.4499999999998</c:v>
                </c:pt>
                <c:pt idx="4859">
                  <c:v>2644.69</c:v>
                </c:pt>
                <c:pt idx="4860">
                  <c:v>2662.84</c:v>
                </c:pt>
                <c:pt idx="4861">
                  <c:v>2604.4699999999998</c:v>
                </c:pt>
                <c:pt idx="4862">
                  <c:v>2613.16</c:v>
                </c:pt>
                <c:pt idx="4863">
                  <c:v>2656.87</c:v>
                </c:pt>
                <c:pt idx="4864">
                  <c:v>2642.19</c:v>
                </c:pt>
                <c:pt idx="4865">
                  <c:v>2663.99</c:v>
                </c:pt>
                <c:pt idx="4866">
                  <c:v>2656.3</c:v>
                </c:pt>
                <c:pt idx="4867">
                  <c:v>2677.84</c:v>
                </c:pt>
                <c:pt idx="4868">
                  <c:v>2706.39</c:v>
                </c:pt>
                <c:pt idx="4869">
                  <c:v>2708.64</c:v>
                </c:pt>
                <c:pt idx="4870">
                  <c:v>2693.13</c:v>
                </c:pt>
                <c:pt idx="4871">
                  <c:v>2670.14</c:v>
                </c:pt>
                <c:pt idx="4872">
                  <c:v>2670.29</c:v>
                </c:pt>
                <c:pt idx="4873">
                  <c:v>2634.56</c:v>
                </c:pt>
                <c:pt idx="4874">
                  <c:v>2639.4</c:v>
                </c:pt>
                <c:pt idx="4875">
                  <c:v>2666.94</c:v>
                </c:pt>
                <c:pt idx="4876">
                  <c:v>2669.91</c:v>
                </c:pt>
                <c:pt idx="4877">
                  <c:v>2648.05</c:v>
                </c:pt>
                <c:pt idx="4878">
                  <c:v>2654.8</c:v>
                </c:pt>
                <c:pt idx="4879">
                  <c:v>2635.67</c:v>
                </c:pt>
                <c:pt idx="4880">
                  <c:v>2629.73</c:v>
                </c:pt>
                <c:pt idx="4881">
                  <c:v>2663.42</c:v>
                </c:pt>
                <c:pt idx="4882">
                  <c:v>2672.63</c:v>
                </c:pt>
                <c:pt idx="4883">
                  <c:v>2671.92</c:v>
                </c:pt>
                <c:pt idx="4884">
                  <c:v>2697.79</c:v>
                </c:pt>
                <c:pt idx="4885">
                  <c:v>2723.07</c:v>
                </c:pt>
                <c:pt idx="4886">
                  <c:v>2727.72</c:v>
                </c:pt>
                <c:pt idx="4887">
                  <c:v>2730.13</c:v>
                </c:pt>
                <c:pt idx="4888">
                  <c:v>2711.45</c:v>
                </c:pt>
                <c:pt idx="4889">
                  <c:v>2722.46</c:v>
                </c:pt>
                <c:pt idx="4890">
                  <c:v>2720.13</c:v>
                </c:pt>
                <c:pt idx="4891">
                  <c:v>2712.97</c:v>
                </c:pt>
                <c:pt idx="4892">
                  <c:v>2733.01</c:v>
                </c:pt>
                <c:pt idx="4893">
                  <c:v>2724.44</c:v>
                </c:pt>
                <c:pt idx="4894">
                  <c:v>2733.29</c:v>
                </c:pt>
                <c:pt idx="4895">
                  <c:v>2727.76</c:v>
                </c:pt>
                <c:pt idx="4896">
                  <c:v>2721.33</c:v>
                </c:pt>
                <c:pt idx="4897">
                  <c:v>2721.33</c:v>
                </c:pt>
                <c:pt idx="4898">
                  <c:v>2689.86</c:v>
                </c:pt>
                <c:pt idx="4899">
                  <c:v>2724.01</c:v>
                </c:pt>
                <c:pt idx="4900">
                  <c:v>2705.27</c:v>
                </c:pt>
                <c:pt idx="4901">
                  <c:v>2734.62</c:v>
                </c:pt>
                <c:pt idx="4902">
                  <c:v>2746.87</c:v>
                </c:pt>
                <c:pt idx="4903">
                  <c:v>2748.8</c:v>
                </c:pt>
                <c:pt idx="4904">
                  <c:v>2772.35</c:v>
                </c:pt>
                <c:pt idx="4905">
                  <c:v>2770.37</c:v>
                </c:pt>
                <c:pt idx="4906">
                  <c:v>2779.03</c:v>
                </c:pt>
                <c:pt idx="4907">
                  <c:v>2782</c:v>
                </c:pt>
                <c:pt idx="4908">
                  <c:v>2786.85</c:v>
                </c:pt>
                <c:pt idx="4909">
                  <c:v>2775.63</c:v>
                </c:pt>
                <c:pt idx="4910">
                  <c:v>2782.49</c:v>
                </c:pt>
                <c:pt idx="4911">
                  <c:v>2779.66</c:v>
                </c:pt>
                <c:pt idx="4912">
                  <c:v>2773.75</c:v>
                </c:pt>
                <c:pt idx="4913">
                  <c:v>2762.59</c:v>
                </c:pt>
                <c:pt idx="4914">
                  <c:v>2767.32</c:v>
                </c:pt>
                <c:pt idx="4915">
                  <c:v>2749.76</c:v>
                </c:pt>
                <c:pt idx="4916">
                  <c:v>2754.88</c:v>
                </c:pt>
                <c:pt idx="4917">
                  <c:v>2717.07</c:v>
                </c:pt>
                <c:pt idx="4918">
                  <c:v>2723.06</c:v>
                </c:pt>
                <c:pt idx="4919">
                  <c:v>2699.63</c:v>
                </c:pt>
                <c:pt idx="4920">
                  <c:v>2716.31</c:v>
                </c:pt>
                <c:pt idx="4921">
                  <c:v>2718.37</c:v>
                </c:pt>
                <c:pt idx="4922">
                  <c:v>2726.71</c:v>
                </c:pt>
                <c:pt idx="4923">
                  <c:v>2713.22</c:v>
                </c:pt>
                <c:pt idx="4924">
                  <c:v>2713.22</c:v>
                </c:pt>
                <c:pt idx="4925">
                  <c:v>2736.61</c:v>
                </c:pt>
                <c:pt idx="4926">
                  <c:v>2759.82</c:v>
                </c:pt>
                <c:pt idx="4927">
                  <c:v>2784.17</c:v>
                </c:pt>
                <c:pt idx="4928">
                  <c:v>2793.84</c:v>
                </c:pt>
                <c:pt idx="4929">
                  <c:v>2774.02</c:v>
                </c:pt>
                <c:pt idx="4930">
                  <c:v>2798.29</c:v>
                </c:pt>
                <c:pt idx="4931">
                  <c:v>2801.31</c:v>
                </c:pt>
                <c:pt idx="4932">
                  <c:v>2798.43</c:v>
                </c:pt>
                <c:pt idx="4933">
                  <c:v>2809.55</c:v>
                </c:pt>
                <c:pt idx="4934">
                  <c:v>2815.62</c:v>
                </c:pt>
                <c:pt idx="4935">
                  <c:v>2804.49</c:v>
                </c:pt>
                <c:pt idx="4936">
                  <c:v>2801.83</c:v>
                </c:pt>
                <c:pt idx="4937">
                  <c:v>2806.98</c:v>
                </c:pt>
                <c:pt idx="4938">
                  <c:v>2820.4</c:v>
                </c:pt>
                <c:pt idx="4939">
                  <c:v>2846.07</c:v>
                </c:pt>
                <c:pt idx="4940">
                  <c:v>2837.44</c:v>
                </c:pt>
                <c:pt idx="4941">
                  <c:v>2818.82</c:v>
                </c:pt>
                <c:pt idx="4942">
                  <c:v>2802.6</c:v>
                </c:pt>
                <c:pt idx="4943">
                  <c:v>2816.29</c:v>
                </c:pt>
                <c:pt idx="4944">
                  <c:v>2813.36</c:v>
                </c:pt>
                <c:pt idx="4945">
                  <c:v>2827.22</c:v>
                </c:pt>
                <c:pt idx="4946">
                  <c:v>2840.35</c:v>
                </c:pt>
                <c:pt idx="4947">
                  <c:v>2850.4</c:v>
                </c:pt>
                <c:pt idx="4948">
                  <c:v>2858.45</c:v>
                </c:pt>
                <c:pt idx="4949">
                  <c:v>2857.7</c:v>
                </c:pt>
                <c:pt idx="4950">
                  <c:v>2853.58</c:v>
                </c:pt>
                <c:pt idx="4951">
                  <c:v>2833.28</c:v>
                </c:pt>
                <c:pt idx="4952">
                  <c:v>2821.93</c:v>
                </c:pt>
                <c:pt idx="4953">
                  <c:v>2839.96</c:v>
                </c:pt>
                <c:pt idx="4954">
                  <c:v>2818.37</c:v>
                </c:pt>
                <c:pt idx="4955">
                  <c:v>2840.69</c:v>
                </c:pt>
                <c:pt idx="4956">
                  <c:v>2850.13</c:v>
                </c:pt>
                <c:pt idx="4957">
                  <c:v>2857.05</c:v>
                </c:pt>
                <c:pt idx="4958">
                  <c:v>2862.96</c:v>
                </c:pt>
                <c:pt idx="4959">
                  <c:v>2861.82</c:v>
                </c:pt>
                <c:pt idx="4960">
                  <c:v>2856.98</c:v>
                </c:pt>
                <c:pt idx="4961">
                  <c:v>2874.69</c:v>
                </c:pt>
                <c:pt idx="4962">
                  <c:v>2896.74</c:v>
                </c:pt>
                <c:pt idx="4963">
                  <c:v>2897.52</c:v>
                </c:pt>
                <c:pt idx="4964">
                  <c:v>2914.04</c:v>
                </c:pt>
                <c:pt idx="4965">
                  <c:v>2901.13</c:v>
                </c:pt>
                <c:pt idx="4966">
                  <c:v>2901.52</c:v>
                </c:pt>
                <c:pt idx="4967">
                  <c:v>2901.52</c:v>
                </c:pt>
                <c:pt idx="4968">
                  <c:v>2896.72</c:v>
                </c:pt>
                <c:pt idx="4969">
                  <c:v>2888.6</c:v>
                </c:pt>
                <c:pt idx="4970">
                  <c:v>2878.05</c:v>
                </c:pt>
                <c:pt idx="4971">
                  <c:v>2871.68</c:v>
                </c:pt>
                <c:pt idx="4972">
                  <c:v>2877.13</c:v>
                </c:pt>
                <c:pt idx="4973">
                  <c:v>2887.89</c:v>
                </c:pt>
                <c:pt idx="4974">
                  <c:v>2888.92</c:v>
                </c:pt>
                <c:pt idx="4975">
                  <c:v>2904.18</c:v>
                </c:pt>
                <c:pt idx="4976">
                  <c:v>2904.98</c:v>
                </c:pt>
                <c:pt idx="4977">
                  <c:v>2888.8</c:v>
                </c:pt>
                <c:pt idx="4978">
                  <c:v>2904.31</c:v>
                </c:pt>
                <c:pt idx="4979">
                  <c:v>2907.95</c:v>
                </c:pt>
                <c:pt idx="4980">
                  <c:v>2930.75</c:v>
                </c:pt>
                <c:pt idx="4981">
                  <c:v>2929.67</c:v>
                </c:pt>
                <c:pt idx="4982">
                  <c:v>2919.37</c:v>
                </c:pt>
                <c:pt idx="4983">
                  <c:v>2915.56</c:v>
                </c:pt>
                <c:pt idx="4984">
                  <c:v>2905.97</c:v>
                </c:pt>
                <c:pt idx="4985">
                  <c:v>2914</c:v>
                </c:pt>
                <c:pt idx="4986">
                  <c:v>2913.98</c:v>
                </c:pt>
                <c:pt idx="4987">
                  <c:v>2924.59</c:v>
                </c:pt>
                <c:pt idx="4988">
                  <c:v>2923.43</c:v>
                </c:pt>
                <c:pt idx="4989">
                  <c:v>2925.51</c:v>
                </c:pt>
                <c:pt idx="4990">
                  <c:v>2901.61</c:v>
                </c:pt>
                <c:pt idx="4991">
                  <c:v>2885.57</c:v>
                </c:pt>
                <c:pt idx="4992">
                  <c:v>2884.43</c:v>
                </c:pt>
                <c:pt idx="4993">
                  <c:v>2880.34</c:v>
                </c:pt>
                <c:pt idx="4994">
                  <c:v>2785.68</c:v>
                </c:pt>
                <c:pt idx="4995">
                  <c:v>2728.37</c:v>
                </c:pt>
                <c:pt idx="4996">
                  <c:v>2767.13</c:v>
                </c:pt>
                <c:pt idx="4997">
                  <c:v>2750.79</c:v>
                </c:pt>
                <c:pt idx="4998">
                  <c:v>2809.92</c:v>
                </c:pt>
                <c:pt idx="4999">
                  <c:v>2809.21</c:v>
                </c:pt>
                <c:pt idx="5000">
                  <c:v>2768.78</c:v>
                </c:pt>
                <c:pt idx="5001">
                  <c:v>2767.78</c:v>
                </c:pt>
                <c:pt idx="5002">
                  <c:v>2755.88</c:v>
                </c:pt>
                <c:pt idx="5003">
                  <c:v>2740.69</c:v>
                </c:pt>
                <c:pt idx="5004">
                  <c:v>2656.1</c:v>
                </c:pt>
                <c:pt idx="5005">
                  <c:v>2705.57</c:v>
                </c:pt>
                <c:pt idx="5006">
                  <c:v>2658.69</c:v>
                </c:pt>
                <c:pt idx="5007">
                  <c:v>2641.25</c:v>
                </c:pt>
                <c:pt idx="5008">
                  <c:v>2682.63</c:v>
                </c:pt>
                <c:pt idx="5009">
                  <c:v>2711.74</c:v>
                </c:pt>
                <c:pt idx="5010">
                  <c:v>2740.37</c:v>
                </c:pt>
                <c:pt idx="5011">
                  <c:v>2723.06</c:v>
                </c:pt>
                <c:pt idx="5012">
                  <c:v>2738.31</c:v>
                </c:pt>
                <c:pt idx="5013">
                  <c:v>2755.45</c:v>
                </c:pt>
                <c:pt idx="5014">
                  <c:v>2813.89</c:v>
                </c:pt>
                <c:pt idx="5015">
                  <c:v>2806.83</c:v>
                </c:pt>
                <c:pt idx="5016">
                  <c:v>2781.01</c:v>
                </c:pt>
                <c:pt idx="5017">
                  <c:v>2726.22</c:v>
                </c:pt>
                <c:pt idx="5018">
                  <c:v>2722.18</c:v>
                </c:pt>
                <c:pt idx="5019">
                  <c:v>2701.58</c:v>
                </c:pt>
                <c:pt idx="5020">
                  <c:v>2730.2</c:v>
                </c:pt>
                <c:pt idx="5021">
                  <c:v>2736.27</c:v>
                </c:pt>
                <c:pt idx="5022">
                  <c:v>2690.73</c:v>
                </c:pt>
                <c:pt idx="5023">
                  <c:v>2641.89</c:v>
                </c:pt>
                <c:pt idx="5024">
                  <c:v>2649.93</c:v>
                </c:pt>
                <c:pt idx="5025">
                  <c:v>2649.93</c:v>
                </c:pt>
                <c:pt idx="5026">
                  <c:v>2632.56</c:v>
                </c:pt>
                <c:pt idx="5027">
                  <c:v>2673.45</c:v>
                </c:pt>
                <c:pt idx="5028">
                  <c:v>2682.17</c:v>
                </c:pt>
                <c:pt idx="5029">
                  <c:v>2743.79</c:v>
                </c:pt>
                <c:pt idx="5030">
                  <c:v>2737.76</c:v>
                </c:pt>
                <c:pt idx="5031">
                  <c:v>2760.17</c:v>
                </c:pt>
                <c:pt idx="5032">
                  <c:v>2790.37</c:v>
                </c:pt>
                <c:pt idx="5033">
                  <c:v>2700.06</c:v>
                </c:pt>
                <c:pt idx="5034">
                  <c:v>2700.06</c:v>
                </c:pt>
                <c:pt idx="5035">
                  <c:v>2695.95</c:v>
                </c:pt>
                <c:pt idx="5036">
                  <c:v>2633.08</c:v>
                </c:pt>
                <c:pt idx="5037">
                  <c:v>2637.72</c:v>
                </c:pt>
                <c:pt idx="5038">
                  <c:v>2636.78</c:v>
                </c:pt>
                <c:pt idx="5039">
                  <c:v>2651.07</c:v>
                </c:pt>
                <c:pt idx="5040">
                  <c:v>2650.54</c:v>
                </c:pt>
                <c:pt idx="5041">
                  <c:v>2599.9499999999998</c:v>
                </c:pt>
                <c:pt idx="5042">
                  <c:v>2545.94</c:v>
                </c:pt>
                <c:pt idx="5043">
                  <c:v>2546.16</c:v>
                </c:pt>
                <c:pt idx="5044">
                  <c:v>2506.96</c:v>
                </c:pt>
                <c:pt idx="5045">
                  <c:v>2467.42</c:v>
                </c:pt>
                <c:pt idx="5046">
                  <c:v>2416.62</c:v>
                </c:pt>
                <c:pt idx="5047">
                  <c:v>2351.1</c:v>
                </c:pt>
                <c:pt idx="5048">
                  <c:v>2351.1</c:v>
                </c:pt>
                <c:pt idx="5049">
                  <c:v>2467.6999999999998</c:v>
                </c:pt>
                <c:pt idx="5050">
                  <c:v>2488.83</c:v>
                </c:pt>
                <c:pt idx="5051">
                  <c:v>2485.7399999999998</c:v>
                </c:pt>
                <c:pt idx="5052">
                  <c:v>2506.85</c:v>
                </c:pt>
                <c:pt idx="5053">
                  <c:v>2506.85</c:v>
                </c:pt>
                <c:pt idx="5054">
                  <c:v>2510.0300000000002</c:v>
                </c:pt>
                <c:pt idx="5055">
                  <c:v>2447.89</c:v>
                </c:pt>
                <c:pt idx="5056">
                  <c:v>2531.94</c:v>
                </c:pt>
                <c:pt idx="5057">
                  <c:v>2549.69</c:v>
                </c:pt>
                <c:pt idx="5058">
                  <c:v>2574.41</c:v>
                </c:pt>
                <c:pt idx="5059">
                  <c:v>2584.96</c:v>
                </c:pt>
                <c:pt idx="5060">
                  <c:v>2596.64</c:v>
                </c:pt>
                <c:pt idx="5061">
                  <c:v>2596.2600000000002</c:v>
                </c:pt>
                <c:pt idx="5062">
                  <c:v>2582.61</c:v>
                </c:pt>
                <c:pt idx="5063">
                  <c:v>2610.3000000000002</c:v>
                </c:pt>
                <c:pt idx="5064">
                  <c:v>2616.1</c:v>
                </c:pt>
                <c:pt idx="5065">
                  <c:v>2635.96</c:v>
                </c:pt>
                <c:pt idx="5066">
                  <c:v>2670.71</c:v>
                </c:pt>
                <c:pt idx="5067">
                  <c:v>2670.71</c:v>
                </c:pt>
                <c:pt idx="5068">
                  <c:v>2632.9</c:v>
                </c:pt>
                <c:pt idx="5069">
                  <c:v>2638.7</c:v>
                </c:pt>
                <c:pt idx="5070">
                  <c:v>2642.33</c:v>
                </c:pt>
                <c:pt idx="5071">
                  <c:v>2664.76</c:v>
                </c:pt>
                <c:pt idx="5072">
                  <c:v>2643.85</c:v>
                </c:pt>
                <c:pt idx="5073">
                  <c:v>2640</c:v>
                </c:pt>
                <c:pt idx="5074">
                  <c:v>2681.05</c:v>
                </c:pt>
                <c:pt idx="5075">
                  <c:v>2704.1</c:v>
                </c:pt>
                <c:pt idx="5076">
                  <c:v>2706.53</c:v>
                </c:pt>
                <c:pt idx="5077">
                  <c:v>2724.87</c:v>
                </c:pt>
                <c:pt idx="5078">
                  <c:v>2737.7</c:v>
                </c:pt>
                <c:pt idx="5079">
                  <c:v>2731.61</c:v>
                </c:pt>
                <c:pt idx="5080">
                  <c:v>2706.05</c:v>
                </c:pt>
                <c:pt idx="5081">
                  <c:v>2707.88</c:v>
                </c:pt>
                <c:pt idx="5082">
                  <c:v>2709.8</c:v>
                </c:pt>
                <c:pt idx="5083">
                  <c:v>2744.73</c:v>
                </c:pt>
                <c:pt idx="5084">
                  <c:v>2753.03</c:v>
                </c:pt>
                <c:pt idx="5085">
                  <c:v>2745.73</c:v>
                </c:pt>
                <c:pt idx="5086">
                  <c:v>2775.6</c:v>
                </c:pt>
                <c:pt idx="5087">
                  <c:v>2775.6</c:v>
                </c:pt>
                <c:pt idx="5088">
                  <c:v>2779.76</c:v>
                </c:pt>
                <c:pt idx="5089">
                  <c:v>2784.7</c:v>
                </c:pt>
                <c:pt idx="5090">
                  <c:v>2774.88</c:v>
                </c:pt>
                <c:pt idx="5091">
                  <c:v>2792.67</c:v>
                </c:pt>
                <c:pt idx="5092">
                  <c:v>2796.11</c:v>
                </c:pt>
                <c:pt idx="5093">
                  <c:v>2793.9</c:v>
                </c:pt>
                <c:pt idx="5094">
                  <c:v>2792.38</c:v>
                </c:pt>
                <c:pt idx="5095">
                  <c:v>2784.49</c:v>
                </c:pt>
                <c:pt idx="5096">
                  <c:v>2803.69</c:v>
                </c:pt>
                <c:pt idx="5097">
                  <c:v>2792.81</c:v>
                </c:pt>
                <c:pt idx="5098">
                  <c:v>2789.65</c:v>
                </c:pt>
                <c:pt idx="5099">
                  <c:v>2771.45</c:v>
                </c:pt>
                <c:pt idx="5100">
                  <c:v>2748.93</c:v>
                </c:pt>
                <c:pt idx="5101">
                  <c:v>2743.07</c:v>
                </c:pt>
                <c:pt idx="5102">
                  <c:v>2783.3</c:v>
                </c:pt>
                <c:pt idx="5103">
                  <c:v>2791.52</c:v>
                </c:pt>
                <c:pt idx="5104">
                  <c:v>2810.92</c:v>
                </c:pt>
                <c:pt idx="5105">
                  <c:v>2808.48</c:v>
                </c:pt>
                <c:pt idx="5106">
                  <c:v>2822.48</c:v>
                </c:pt>
                <c:pt idx="5107">
                  <c:v>2832.94</c:v>
                </c:pt>
                <c:pt idx="5108">
                  <c:v>2832.57</c:v>
                </c:pt>
                <c:pt idx="5109">
                  <c:v>2824.23</c:v>
                </c:pt>
                <c:pt idx="5110">
                  <c:v>2854.88</c:v>
                </c:pt>
                <c:pt idx="5111">
                  <c:v>2800.71</c:v>
                </c:pt>
                <c:pt idx="5112">
                  <c:v>2798.36</c:v>
                </c:pt>
                <c:pt idx="5113">
                  <c:v>2818.46</c:v>
                </c:pt>
                <c:pt idx="5114">
                  <c:v>2805.37</c:v>
                </c:pt>
                <c:pt idx="5115">
                  <c:v>2815.44</c:v>
                </c:pt>
                <c:pt idx="5116">
                  <c:v>2834.4</c:v>
                </c:pt>
                <c:pt idx="5117">
                  <c:v>2867.19</c:v>
                </c:pt>
                <c:pt idx="5118">
                  <c:v>2867.24</c:v>
                </c:pt>
                <c:pt idx="5119">
                  <c:v>2873.4</c:v>
                </c:pt>
                <c:pt idx="5120">
                  <c:v>2879.39</c:v>
                </c:pt>
                <c:pt idx="5121">
                  <c:v>2892.74</c:v>
                </c:pt>
                <c:pt idx="5122">
                  <c:v>2895.77</c:v>
                </c:pt>
                <c:pt idx="5123">
                  <c:v>2878.2</c:v>
                </c:pt>
                <c:pt idx="5124">
                  <c:v>2888.21</c:v>
                </c:pt>
                <c:pt idx="5125">
                  <c:v>2888.32</c:v>
                </c:pt>
                <c:pt idx="5126">
                  <c:v>2907.41</c:v>
                </c:pt>
                <c:pt idx="5127">
                  <c:v>2905.58</c:v>
                </c:pt>
                <c:pt idx="5128">
                  <c:v>2907.06</c:v>
                </c:pt>
                <c:pt idx="5129">
                  <c:v>2900.45</c:v>
                </c:pt>
                <c:pt idx="5130">
                  <c:v>2905.03</c:v>
                </c:pt>
                <c:pt idx="5131">
                  <c:v>2905.03</c:v>
                </c:pt>
                <c:pt idx="5132">
                  <c:v>2907.97</c:v>
                </c:pt>
                <c:pt idx="5133">
                  <c:v>2933.68</c:v>
                </c:pt>
                <c:pt idx="5134">
                  <c:v>2927.25</c:v>
                </c:pt>
                <c:pt idx="5135">
                  <c:v>2926.17</c:v>
                </c:pt>
                <c:pt idx="5136">
                  <c:v>2939.88</c:v>
                </c:pt>
                <c:pt idx="5137">
                  <c:v>2943.03</c:v>
                </c:pt>
                <c:pt idx="5138">
                  <c:v>2945.83</c:v>
                </c:pt>
                <c:pt idx="5139">
                  <c:v>2923.73</c:v>
                </c:pt>
                <c:pt idx="5140">
                  <c:v>2917.52</c:v>
                </c:pt>
                <c:pt idx="5141">
                  <c:v>2945.64</c:v>
                </c:pt>
                <c:pt idx="5142">
                  <c:v>2932.47</c:v>
                </c:pt>
                <c:pt idx="5143">
                  <c:v>2884.05</c:v>
                </c:pt>
                <c:pt idx="5144">
                  <c:v>2879.42</c:v>
                </c:pt>
                <c:pt idx="5145">
                  <c:v>2870.72</c:v>
                </c:pt>
                <c:pt idx="5146">
                  <c:v>2881.4</c:v>
                </c:pt>
                <c:pt idx="5147">
                  <c:v>2811.87</c:v>
                </c:pt>
                <c:pt idx="5148">
                  <c:v>2834.41</c:v>
                </c:pt>
                <c:pt idx="5149">
                  <c:v>2850.96</c:v>
                </c:pt>
                <c:pt idx="5150">
                  <c:v>2876.32</c:v>
                </c:pt>
                <c:pt idx="5151">
                  <c:v>2859.53</c:v>
                </c:pt>
                <c:pt idx="5152">
                  <c:v>2840.23</c:v>
                </c:pt>
                <c:pt idx="5153">
                  <c:v>2864.36</c:v>
                </c:pt>
                <c:pt idx="5154">
                  <c:v>2856.27</c:v>
                </c:pt>
                <c:pt idx="5155">
                  <c:v>2822.24</c:v>
                </c:pt>
                <c:pt idx="5156">
                  <c:v>2826.06</c:v>
                </c:pt>
                <c:pt idx="5157">
                  <c:v>2826.06</c:v>
                </c:pt>
                <c:pt idx="5158">
                  <c:v>2802.39</c:v>
                </c:pt>
                <c:pt idx="5159">
                  <c:v>2783.02</c:v>
                </c:pt>
                <c:pt idx="5160">
                  <c:v>2788.86</c:v>
                </c:pt>
                <c:pt idx="5161">
                  <c:v>2752.06</c:v>
                </c:pt>
                <c:pt idx="5162">
                  <c:v>2744.45</c:v>
                </c:pt>
                <c:pt idx="5163">
                  <c:v>2803.27</c:v>
                </c:pt>
                <c:pt idx="5164">
                  <c:v>2826.15</c:v>
                </c:pt>
                <c:pt idx="5165">
                  <c:v>2843.49</c:v>
                </c:pt>
                <c:pt idx="5166">
                  <c:v>2873.34</c:v>
                </c:pt>
                <c:pt idx="5167">
                  <c:v>2886.73</c:v>
                </c:pt>
                <c:pt idx="5168">
                  <c:v>2885.72</c:v>
                </c:pt>
                <c:pt idx="5169">
                  <c:v>2879.84</c:v>
                </c:pt>
                <c:pt idx="5170">
                  <c:v>2891.64</c:v>
                </c:pt>
                <c:pt idx="5171">
                  <c:v>2886.98</c:v>
                </c:pt>
                <c:pt idx="5172">
                  <c:v>2889.67</c:v>
                </c:pt>
                <c:pt idx="5173">
                  <c:v>2917.75</c:v>
                </c:pt>
                <c:pt idx="5174">
                  <c:v>2926.46</c:v>
                </c:pt>
                <c:pt idx="5175">
                  <c:v>2954.18</c:v>
                </c:pt>
                <c:pt idx="5176">
                  <c:v>2950.46</c:v>
                </c:pt>
                <c:pt idx="5177">
                  <c:v>2945.35</c:v>
                </c:pt>
                <c:pt idx="5178">
                  <c:v>2917.38</c:v>
                </c:pt>
                <c:pt idx="5179">
                  <c:v>2913.78</c:v>
                </c:pt>
                <c:pt idx="5180">
                  <c:v>2924.92</c:v>
                </c:pt>
                <c:pt idx="5181">
                  <c:v>2941.76</c:v>
                </c:pt>
                <c:pt idx="5182">
                  <c:v>2964.33</c:v>
                </c:pt>
                <c:pt idx="5183">
                  <c:v>2973.01</c:v>
                </c:pt>
                <c:pt idx="5184">
                  <c:v>2995.82</c:v>
                </c:pt>
                <c:pt idx="5185">
                  <c:v>2995.82</c:v>
                </c:pt>
                <c:pt idx="5186">
                  <c:v>2990.41</c:v>
                </c:pt>
                <c:pt idx="5187">
                  <c:v>2975.95</c:v>
                </c:pt>
                <c:pt idx="5188">
                  <c:v>2979.63</c:v>
                </c:pt>
                <c:pt idx="5189">
                  <c:v>2993.07</c:v>
                </c:pt>
                <c:pt idx="5190">
                  <c:v>2999.91</c:v>
                </c:pt>
                <c:pt idx="5191">
                  <c:v>3013.77</c:v>
                </c:pt>
                <c:pt idx="5192">
                  <c:v>3014.3</c:v>
                </c:pt>
                <c:pt idx="5193">
                  <c:v>3004.04</c:v>
                </c:pt>
                <c:pt idx="5194">
                  <c:v>2984.42</c:v>
                </c:pt>
                <c:pt idx="5195">
                  <c:v>2995.11</c:v>
                </c:pt>
                <c:pt idx="5196">
                  <c:v>2976.61</c:v>
                </c:pt>
                <c:pt idx="5197">
                  <c:v>2985.03</c:v>
                </c:pt>
                <c:pt idx="5198">
                  <c:v>3005.47</c:v>
                </c:pt>
                <c:pt idx="5199">
                  <c:v>3019.56</c:v>
                </c:pt>
                <c:pt idx="5200">
                  <c:v>3003.67</c:v>
                </c:pt>
                <c:pt idx="5201">
                  <c:v>3025.86</c:v>
                </c:pt>
                <c:pt idx="5202">
                  <c:v>3020.97</c:v>
                </c:pt>
                <c:pt idx="5203">
                  <c:v>3013.18</c:v>
                </c:pt>
                <c:pt idx="5204">
                  <c:v>2980.38</c:v>
                </c:pt>
                <c:pt idx="5205">
                  <c:v>2953.56</c:v>
                </c:pt>
                <c:pt idx="5206">
                  <c:v>2932.05</c:v>
                </c:pt>
                <c:pt idx="5207">
                  <c:v>2844.74</c:v>
                </c:pt>
                <c:pt idx="5208">
                  <c:v>2881.77</c:v>
                </c:pt>
                <c:pt idx="5209">
                  <c:v>2883.98</c:v>
                </c:pt>
                <c:pt idx="5210">
                  <c:v>2938.09</c:v>
                </c:pt>
                <c:pt idx="5211">
                  <c:v>2918.65</c:v>
                </c:pt>
                <c:pt idx="5212">
                  <c:v>2883.75</c:v>
                </c:pt>
                <c:pt idx="5213">
                  <c:v>2926.32</c:v>
                </c:pt>
                <c:pt idx="5214">
                  <c:v>2840.6</c:v>
                </c:pt>
                <c:pt idx="5215">
                  <c:v>2847.6</c:v>
                </c:pt>
                <c:pt idx="5216">
                  <c:v>2888.68</c:v>
                </c:pt>
                <c:pt idx="5217">
                  <c:v>2923.65</c:v>
                </c:pt>
                <c:pt idx="5218">
                  <c:v>2900.51</c:v>
                </c:pt>
                <c:pt idx="5219">
                  <c:v>2924.43</c:v>
                </c:pt>
                <c:pt idx="5220">
                  <c:v>2922.95</c:v>
                </c:pt>
                <c:pt idx="5221">
                  <c:v>2847.11</c:v>
                </c:pt>
                <c:pt idx="5222">
                  <c:v>2878.38</c:v>
                </c:pt>
                <c:pt idx="5223">
                  <c:v>2869.16</c:v>
                </c:pt>
                <c:pt idx="5224">
                  <c:v>2887.94</c:v>
                </c:pt>
                <c:pt idx="5225">
                  <c:v>2924.58</c:v>
                </c:pt>
                <c:pt idx="5226">
                  <c:v>2926.46</c:v>
                </c:pt>
                <c:pt idx="5227">
                  <c:v>2926.46</c:v>
                </c:pt>
                <c:pt idx="5228">
                  <c:v>2906.27</c:v>
                </c:pt>
                <c:pt idx="5229">
                  <c:v>2937.78</c:v>
                </c:pt>
                <c:pt idx="5230">
                  <c:v>2976</c:v>
                </c:pt>
                <c:pt idx="5231">
                  <c:v>2978.71</c:v>
                </c:pt>
                <c:pt idx="5232">
                  <c:v>2978.43</c:v>
                </c:pt>
                <c:pt idx="5233">
                  <c:v>2979.39</c:v>
                </c:pt>
                <c:pt idx="5234">
                  <c:v>3000.93</c:v>
                </c:pt>
                <c:pt idx="5235">
                  <c:v>3009.57</c:v>
                </c:pt>
                <c:pt idx="5236">
                  <c:v>3007.39</c:v>
                </c:pt>
                <c:pt idx="5237">
                  <c:v>2997.96</c:v>
                </c:pt>
                <c:pt idx="5238">
                  <c:v>3005.7</c:v>
                </c:pt>
                <c:pt idx="5239">
                  <c:v>3006.73</c:v>
                </c:pt>
                <c:pt idx="5240">
                  <c:v>3006.79</c:v>
                </c:pt>
                <c:pt idx="5241">
                  <c:v>2992.07</c:v>
                </c:pt>
                <c:pt idx="5242">
                  <c:v>2991.78</c:v>
                </c:pt>
                <c:pt idx="5243">
                  <c:v>2966.6</c:v>
                </c:pt>
                <c:pt idx="5244">
                  <c:v>2984.87</c:v>
                </c:pt>
                <c:pt idx="5245">
                  <c:v>2977.62</c:v>
                </c:pt>
                <c:pt idx="5246">
                  <c:v>2961.79</c:v>
                </c:pt>
                <c:pt idx="5247">
                  <c:v>2976.74</c:v>
                </c:pt>
                <c:pt idx="5248">
                  <c:v>2940.25</c:v>
                </c:pt>
                <c:pt idx="5249">
                  <c:v>2887.61</c:v>
                </c:pt>
                <c:pt idx="5250">
                  <c:v>2910.63</c:v>
                </c:pt>
                <c:pt idx="5251">
                  <c:v>2952.01</c:v>
                </c:pt>
                <c:pt idx="5252">
                  <c:v>2938.79</c:v>
                </c:pt>
                <c:pt idx="5253">
                  <c:v>2893.06</c:v>
                </c:pt>
                <c:pt idx="5254">
                  <c:v>2919.4</c:v>
                </c:pt>
                <c:pt idx="5255">
                  <c:v>2938.13</c:v>
                </c:pt>
                <c:pt idx="5256">
                  <c:v>2970.27</c:v>
                </c:pt>
                <c:pt idx="5257">
                  <c:v>2966.15</c:v>
                </c:pt>
                <c:pt idx="5258">
                  <c:v>2995.68</c:v>
                </c:pt>
                <c:pt idx="5259">
                  <c:v>2989.69</c:v>
                </c:pt>
                <c:pt idx="5260">
                  <c:v>2997.95</c:v>
                </c:pt>
                <c:pt idx="5261">
                  <c:v>2986.2</c:v>
                </c:pt>
                <c:pt idx="5262">
                  <c:v>3006.72</c:v>
                </c:pt>
                <c:pt idx="5263">
                  <c:v>2995.99</c:v>
                </c:pt>
                <c:pt idx="5264">
                  <c:v>3004.52</c:v>
                </c:pt>
                <c:pt idx="5265">
                  <c:v>3010.29</c:v>
                </c:pt>
                <c:pt idx="5266">
                  <c:v>3022.55</c:v>
                </c:pt>
                <c:pt idx="5267">
                  <c:v>3039.42</c:v>
                </c:pt>
                <c:pt idx="5268">
                  <c:v>3036.89</c:v>
                </c:pt>
                <c:pt idx="5269">
                  <c:v>3046.77</c:v>
                </c:pt>
                <c:pt idx="5270">
                  <c:v>3037.56</c:v>
                </c:pt>
                <c:pt idx="5271">
                  <c:v>3066.91</c:v>
                </c:pt>
                <c:pt idx="5272">
                  <c:v>3078.27</c:v>
                </c:pt>
                <c:pt idx="5273">
                  <c:v>3074.62</c:v>
                </c:pt>
                <c:pt idx="5274">
                  <c:v>3076.78</c:v>
                </c:pt>
                <c:pt idx="5275">
                  <c:v>3085.18</c:v>
                </c:pt>
                <c:pt idx="5276">
                  <c:v>3093.08</c:v>
                </c:pt>
                <c:pt idx="5277">
                  <c:v>3087.01</c:v>
                </c:pt>
                <c:pt idx="5278">
                  <c:v>3091.84</c:v>
                </c:pt>
                <c:pt idx="5279">
                  <c:v>3094.04</c:v>
                </c:pt>
                <c:pt idx="5280">
                  <c:v>3096.63</c:v>
                </c:pt>
                <c:pt idx="5281">
                  <c:v>3120.46</c:v>
                </c:pt>
                <c:pt idx="5282">
                  <c:v>3122.03</c:v>
                </c:pt>
                <c:pt idx="5283">
                  <c:v>3120.18</c:v>
                </c:pt>
                <c:pt idx="5284">
                  <c:v>3108.46</c:v>
                </c:pt>
                <c:pt idx="5285">
                  <c:v>3103.54</c:v>
                </c:pt>
                <c:pt idx="5286">
                  <c:v>3110.29</c:v>
                </c:pt>
                <c:pt idx="5287">
                  <c:v>3133.64</c:v>
                </c:pt>
                <c:pt idx="5288">
                  <c:v>3140.52</c:v>
                </c:pt>
                <c:pt idx="5289">
                  <c:v>3153.63</c:v>
                </c:pt>
                <c:pt idx="5290">
                  <c:v>3153.63</c:v>
                </c:pt>
                <c:pt idx="5291">
                  <c:v>3140.98</c:v>
                </c:pt>
                <c:pt idx="5292">
                  <c:v>3113.87</c:v>
                </c:pt>
                <c:pt idx="5293">
                  <c:v>3093.2</c:v>
                </c:pt>
                <c:pt idx="5294">
                  <c:v>3112.76</c:v>
                </c:pt>
                <c:pt idx="5295">
                  <c:v>3117.43</c:v>
                </c:pt>
                <c:pt idx="5296">
                  <c:v>3145.91</c:v>
                </c:pt>
                <c:pt idx="5297">
                  <c:v>3135.96</c:v>
                </c:pt>
                <c:pt idx="5298">
                  <c:v>3132.52</c:v>
                </c:pt>
                <c:pt idx="5299">
                  <c:v>3141.63</c:v>
                </c:pt>
                <c:pt idx="5300">
                  <c:v>3168.57</c:v>
                </c:pt>
                <c:pt idx="5301">
                  <c:v>3168.8</c:v>
                </c:pt>
                <c:pt idx="5302">
                  <c:v>3191.45</c:v>
                </c:pt>
                <c:pt idx="5303">
                  <c:v>3192.52</c:v>
                </c:pt>
                <c:pt idx="5304">
                  <c:v>3191.14</c:v>
                </c:pt>
                <c:pt idx="5305">
                  <c:v>3205.37</c:v>
                </c:pt>
                <c:pt idx="5306">
                  <c:v>3221.22</c:v>
                </c:pt>
                <c:pt idx="5307">
                  <c:v>3224.01</c:v>
                </c:pt>
                <c:pt idx="5308">
                  <c:v>3223.38</c:v>
                </c:pt>
                <c:pt idx="5309">
                  <c:v>3223.38</c:v>
                </c:pt>
                <c:pt idx="5310">
                  <c:v>3239.91</c:v>
                </c:pt>
                <c:pt idx="5311">
                  <c:v>3240.02</c:v>
                </c:pt>
                <c:pt idx="5312">
                  <c:v>3221.29</c:v>
                </c:pt>
                <c:pt idx="5313">
                  <c:v>3230.78</c:v>
                </c:pt>
                <c:pt idx="5314">
                  <c:v>3230.78</c:v>
                </c:pt>
                <c:pt idx="5315">
                  <c:v>3257.85</c:v>
                </c:pt>
                <c:pt idx="5316">
                  <c:v>3234.85</c:v>
                </c:pt>
                <c:pt idx="5317">
                  <c:v>3246.28</c:v>
                </c:pt>
                <c:pt idx="5318">
                  <c:v>3237.18</c:v>
                </c:pt>
                <c:pt idx="5319">
                  <c:v>3253.05</c:v>
                </c:pt>
                <c:pt idx="5320">
                  <c:v>3274.7</c:v>
                </c:pt>
                <c:pt idx="5321">
                  <c:v>3265.35</c:v>
                </c:pt>
                <c:pt idx="5322">
                  <c:v>3288.13</c:v>
                </c:pt>
                <c:pt idx="5323">
                  <c:v>3283.15</c:v>
                </c:pt>
                <c:pt idx="5324">
                  <c:v>3289.29</c:v>
                </c:pt>
                <c:pt idx="5325">
                  <c:v>3316.81</c:v>
                </c:pt>
                <c:pt idx="5326">
                  <c:v>3329.62</c:v>
                </c:pt>
                <c:pt idx="5327">
                  <c:v>3329.62</c:v>
                </c:pt>
                <c:pt idx="5328">
                  <c:v>3320.79</c:v>
                </c:pt>
                <c:pt idx="5329">
                  <c:v>3321.75</c:v>
                </c:pt>
                <c:pt idx="5330">
                  <c:v>3325.54</c:v>
                </c:pt>
                <c:pt idx="5331">
                  <c:v>3295.47</c:v>
                </c:pt>
                <c:pt idx="5332">
                  <c:v>3243.63</c:v>
                </c:pt>
                <c:pt idx="5333">
                  <c:v>3276.24</c:v>
                </c:pt>
                <c:pt idx="5334">
                  <c:v>3273.4</c:v>
                </c:pt>
                <c:pt idx="5335">
                  <c:v>3283.66</c:v>
                </c:pt>
                <c:pt idx="5336">
                  <c:v>3225.52</c:v>
                </c:pt>
                <c:pt idx="5337">
                  <c:v>3248.92</c:v>
                </c:pt>
                <c:pt idx="5338">
                  <c:v>3297.59</c:v>
                </c:pt>
                <c:pt idx="5339">
                  <c:v>3334.69</c:v>
                </c:pt>
                <c:pt idx="5340">
                  <c:v>3345.78</c:v>
                </c:pt>
                <c:pt idx="5341">
                  <c:v>3327.71</c:v>
                </c:pt>
                <c:pt idx="5342">
                  <c:v>3352.09</c:v>
                </c:pt>
                <c:pt idx="5343">
                  <c:v>3357.75</c:v>
                </c:pt>
                <c:pt idx="5344">
                  <c:v>3379.45</c:v>
                </c:pt>
                <c:pt idx="5345">
                  <c:v>3373.94</c:v>
                </c:pt>
                <c:pt idx="5346">
                  <c:v>3380.16</c:v>
                </c:pt>
                <c:pt idx="5347">
                  <c:v>3380.16</c:v>
                </c:pt>
                <c:pt idx="5348">
                  <c:v>3370.29</c:v>
                </c:pt>
                <c:pt idx="5349">
                  <c:v>3386.15</c:v>
                </c:pt>
                <c:pt idx="5350">
                  <c:v>3373.23</c:v>
                </c:pt>
                <c:pt idx="5351">
                  <c:v>3337.75</c:v>
                </c:pt>
                <c:pt idx="5352">
                  <c:v>3225.89</c:v>
                </c:pt>
                <c:pt idx="5353">
                  <c:v>3128.21</c:v>
                </c:pt>
                <c:pt idx="5354">
                  <c:v>3116.39</c:v>
                </c:pt>
                <c:pt idx="5355">
                  <c:v>2978.76</c:v>
                </c:pt>
                <c:pt idx="5356">
                  <c:v>2954.22</c:v>
                </c:pt>
                <c:pt idx="5357">
                  <c:v>3090.23</c:v>
                </c:pt>
                <c:pt idx="5358">
                  <c:v>3003.37</c:v>
                </c:pt>
                <c:pt idx="5359">
                  <c:v>3130.12</c:v>
                </c:pt>
                <c:pt idx="5360">
                  <c:v>3023.94</c:v>
                </c:pt>
                <c:pt idx="5361">
                  <c:v>2972.37</c:v>
                </c:pt>
                <c:pt idx="5362">
                  <c:v>2746.56</c:v>
                </c:pt>
                <c:pt idx="5363">
                  <c:v>2882.23</c:v>
                </c:pt>
                <c:pt idx="5364">
                  <c:v>2741.38</c:v>
                </c:pt>
                <c:pt idx="5365">
                  <c:v>2480.64</c:v>
                </c:pt>
                <c:pt idx="5366">
                  <c:v>2711.02</c:v>
                </c:pt>
                <c:pt idx="5367">
                  <c:v>2386.13</c:v>
                </c:pt>
                <c:pt idx="5368">
                  <c:v>2529.19</c:v>
                </c:pt>
                <c:pt idx="5369">
                  <c:v>2398.1</c:v>
                </c:pt>
                <c:pt idx="5370">
                  <c:v>2409.39</c:v>
                </c:pt>
                <c:pt idx="5371">
                  <c:v>2304.92</c:v>
                </c:pt>
                <c:pt idx="5372">
                  <c:v>2237.4</c:v>
                </c:pt>
                <c:pt idx="5373">
                  <c:v>2447.33</c:v>
                </c:pt>
                <c:pt idx="5374">
                  <c:v>2475.56</c:v>
                </c:pt>
                <c:pt idx="5375">
                  <c:v>2630.07</c:v>
                </c:pt>
                <c:pt idx="5376">
                  <c:v>2541.4699999999998</c:v>
                </c:pt>
                <c:pt idx="5377">
                  <c:v>2626.65</c:v>
                </c:pt>
                <c:pt idx="5378">
                  <c:v>2584.59</c:v>
                </c:pt>
                <c:pt idx="5379">
                  <c:v>2470.5</c:v>
                </c:pt>
                <c:pt idx="5380">
                  <c:v>2526.9</c:v>
                </c:pt>
                <c:pt idx="5381">
                  <c:v>2488.65</c:v>
                </c:pt>
                <c:pt idx="5382">
                  <c:v>2663.68</c:v>
                </c:pt>
                <c:pt idx="5383">
                  <c:v>2659.41</c:v>
                </c:pt>
                <c:pt idx="5384">
                  <c:v>2749.98</c:v>
                </c:pt>
                <c:pt idx="5385">
                  <c:v>2789.82</c:v>
                </c:pt>
                <c:pt idx="5386">
                  <c:v>2789.82</c:v>
                </c:pt>
                <c:pt idx="5387">
                  <c:v>2761.63</c:v>
                </c:pt>
                <c:pt idx="5388">
                  <c:v>2846.06</c:v>
                </c:pt>
                <c:pt idx="5389">
                  <c:v>2783.36</c:v>
                </c:pt>
                <c:pt idx="5390">
                  <c:v>2799.55</c:v>
                </c:pt>
                <c:pt idx="5391">
                  <c:v>2874.56</c:v>
                </c:pt>
                <c:pt idx="5392">
                  <c:v>2823.16</c:v>
                </c:pt>
                <c:pt idx="5393">
                  <c:v>2736.56</c:v>
                </c:pt>
                <c:pt idx="5394">
                  <c:v>2799.31</c:v>
                </c:pt>
                <c:pt idx="5395">
                  <c:v>2797.8</c:v>
                </c:pt>
                <c:pt idx="5396">
                  <c:v>2836.74</c:v>
                </c:pt>
                <c:pt idx="5397">
                  <c:v>2878.48</c:v>
                </c:pt>
                <c:pt idx="5398">
                  <c:v>2863.39</c:v>
                </c:pt>
                <c:pt idx="5399">
                  <c:v>2939.51</c:v>
                </c:pt>
                <c:pt idx="5400">
                  <c:v>2912.43</c:v>
                </c:pt>
                <c:pt idx="5401">
                  <c:v>2830.71</c:v>
                </c:pt>
                <c:pt idx="5402">
                  <c:v>2842.74</c:v>
                </c:pt>
                <c:pt idx="5403">
                  <c:v>2868.44</c:v>
                </c:pt>
                <c:pt idx="5404">
                  <c:v>2848.42</c:v>
                </c:pt>
                <c:pt idx="5405">
                  <c:v>2881.19</c:v>
                </c:pt>
                <c:pt idx="5406">
                  <c:v>2929.8</c:v>
                </c:pt>
                <c:pt idx="5407">
                  <c:v>2930.32</c:v>
                </c:pt>
                <c:pt idx="5408">
                  <c:v>2870.12</c:v>
                </c:pt>
                <c:pt idx="5409">
                  <c:v>2820</c:v>
                </c:pt>
                <c:pt idx="5410">
                  <c:v>2852.5</c:v>
                </c:pt>
                <c:pt idx="5411">
                  <c:v>2863.7</c:v>
                </c:pt>
                <c:pt idx="5412">
                  <c:v>2953.91</c:v>
                </c:pt>
                <c:pt idx="5413">
                  <c:v>2922.94</c:v>
                </c:pt>
                <c:pt idx="5414">
                  <c:v>2971.61</c:v>
                </c:pt>
                <c:pt idx="5415">
                  <c:v>2948.51</c:v>
                </c:pt>
                <c:pt idx="5416">
                  <c:v>2955.45</c:v>
                </c:pt>
                <c:pt idx="5417">
                  <c:v>2955.45</c:v>
                </c:pt>
                <c:pt idx="5418">
                  <c:v>2991.77</c:v>
                </c:pt>
                <c:pt idx="5419">
                  <c:v>3036.13</c:v>
                </c:pt>
                <c:pt idx="5420">
                  <c:v>3029.73</c:v>
                </c:pt>
                <c:pt idx="5421">
                  <c:v>3044.31</c:v>
                </c:pt>
                <c:pt idx="5422">
                  <c:v>3055.73</c:v>
                </c:pt>
                <c:pt idx="5423">
                  <c:v>3080.82</c:v>
                </c:pt>
                <c:pt idx="5424">
                  <c:v>3122.87</c:v>
                </c:pt>
                <c:pt idx="5425">
                  <c:v>3112.35</c:v>
                </c:pt>
                <c:pt idx="5426">
                  <c:v>3193.93</c:v>
                </c:pt>
                <c:pt idx="5427">
                  <c:v>3232.39</c:v>
                </c:pt>
                <c:pt idx="5428">
                  <c:v>3207.18</c:v>
                </c:pt>
                <c:pt idx="5429">
                  <c:v>3190.14</c:v>
                </c:pt>
                <c:pt idx="5430">
                  <c:v>3002.1</c:v>
                </c:pt>
                <c:pt idx="5431">
                  <c:v>3041.31</c:v>
                </c:pt>
                <c:pt idx="5432">
                  <c:v>3066.59</c:v>
                </c:pt>
                <c:pt idx="5433">
                  <c:v>3124.74</c:v>
                </c:pt>
                <c:pt idx="5434">
                  <c:v>3113.49</c:v>
                </c:pt>
                <c:pt idx="5435">
                  <c:v>3115.34</c:v>
                </c:pt>
                <c:pt idx="5436">
                  <c:v>3097.74</c:v>
                </c:pt>
                <c:pt idx="5437">
                  <c:v>3117.86</c:v>
                </c:pt>
                <c:pt idx="5438">
                  <c:v>3131.29</c:v>
                </c:pt>
                <c:pt idx="5439">
                  <c:v>3050.33</c:v>
                </c:pt>
                <c:pt idx="5440">
                  <c:v>3083.76</c:v>
                </c:pt>
                <c:pt idx="5441">
                  <c:v>3009.05</c:v>
                </c:pt>
                <c:pt idx="5442">
                  <c:v>3053.24</c:v>
                </c:pt>
                <c:pt idx="5443">
                  <c:v>3100.29</c:v>
                </c:pt>
                <c:pt idx="5444">
                  <c:v>3115.86</c:v>
                </c:pt>
                <c:pt idx="5445">
                  <c:v>3130.01</c:v>
                </c:pt>
                <c:pt idx="5446">
                  <c:v>3130.01</c:v>
                </c:pt>
                <c:pt idx="5447">
                  <c:v>3179.72</c:v>
                </c:pt>
                <c:pt idx="5448">
                  <c:v>3145.32</c:v>
                </c:pt>
                <c:pt idx="5449">
                  <c:v>3169.94</c:v>
                </c:pt>
                <c:pt idx="5450">
                  <c:v>3152.05</c:v>
                </c:pt>
                <c:pt idx="5451">
                  <c:v>3185.04</c:v>
                </c:pt>
                <c:pt idx="5452">
                  <c:v>3155.22</c:v>
                </c:pt>
                <c:pt idx="5453">
                  <c:v>3197.52</c:v>
                </c:pt>
                <c:pt idx="5454">
                  <c:v>3226.56</c:v>
                </c:pt>
                <c:pt idx="5455">
                  <c:v>3215.57</c:v>
                </c:pt>
                <c:pt idx="5456">
                  <c:v>3224.73</c:v>
                </c:pt>
                <c:pt idx="5457">
                  <c:v>3251.84</c:v>
                </c:pt>
                <c:pt idx="5458">
                  <c:v>3257.3</c:v>
                </c:pt>
                <c:pt idx="5459">
                  <c:v>3276.02</c:v>
                </c:pt>
                <c:pt idx="5460">
                  <c:v>3235.66</c:v>
                </c:pt>
                <c:pt idx="5461">
                  <c:v>3215.63</c:v>
                </c:pt>
                <c:pt idx="5462">
                  <c:v>3239.41</c:v>
                </c:pt>
                <c:pt idx="5463">
                  <c:v>3218.44</c:v>
                </c:pt>
                <c:pt idx="5464">
                  <c:v>3258.44</c:v>
                </c:pt>
                <c:pt idx="5465">
                  <c:v>3246.22</c:v>
                </c:pt>
                <c:pt idx="5466">
                  <c:v>3271.12</c:v>
                </c:pt>
                <c:pt idx="5467">
                  <c:v>3294.61</c:v>
                </c:pt>
                <c:pt idx="5468">
                  <c:v>3306.51</c:v>
                </c:pt>
                <c:pt idx="5469">
                  <c:v>3327.77</c:v>
                </c:pt>
                <c:pt idx="5470">
                  <c:v>3349.16</c:v>
                </c:pt>
                <c:pt idx="5471">
                  <c:v>3351.28</c:v>
                </c:pt>
                <c:pt idx="5472">
                  <c:v>3360.47</c:v>
                </c:pt>
                <c:pt idx="5473">
                  <c:v>3333.69</c:v>
                </c:pt>
                <c:pt idx="5474">
                  <c:v>3380.35</c:v>
                </c:pt>
                <c:pt idx="5475">
                  <c:v>3373.43</c:v>
                </c:pt>
                <c:pt idx="5476">
                  <c:v>3372.85</c:v>
                </c:pt>
                <c:pt idx="5477">
                  <c:v>3381.99</c:v>
                </c:pt>
                <c:pt idx="5478">
                  <c:v>3389.78</c:v>
                </c:pt>
                <c:pt idx="5479">
                  <c:v>3374.85</c:v>
                </c:pt>
                <c:pt idx="5480">
                  <c:v>3385.51</c:v>
                </c:pt>
                <c:pt idx="5481">
                  <c:v>3397.16</c:v>
                </c:pt>
                <c:pt idx="5482">
                  <c:v>3431.28</c:v>
                </c:pt>
                <c:pt idx="5483">
                  <c:v>3443.62</c:v>
                </c:pt>
                <c:pt idx="5484">
                  <c:v>3478.73</c:v>
                </c:pt>
                <c:pt idx="5485">
                  <c:v>3484.55</c:v>
                </c:pt>
                <c:pt idx="5486">
                  <c:v>3508.01</c:v>
                </c:pt>
                <c:pt idx="5487">
                  <c:v>3500.31</c:v>
                </c:pt>
                <c:pt idx="5488">
                  <c:v>3526.65</c:v>
                </c:pt>
                <c:pt idx="5489">
                  <c:v>3580.84</c:v>
                </c:pt>
                <c:pt idx="5490">
                  <c:v>3455.06</c:v>
                </c:pt>
                <c:pt idx="5491">
                  <c:v>3426.96</c:v>
                </c:pt>
                <c:pt idx="5492">
                  <c:v>3426.96</c:v>
                </c:pt>
                <c:pt idx="5493">
                  <c:v>3331.84</c:v>
                </c:pt>
                <c:pt idx="5494">
                  <c:v>3398.96</c:v>
                </c:pt>
                <c:pt idx="5495">
                  <c:v>3339.19</c:v>
                </c:pt>
                <c:pt idx="5496">
                  <c:v>3340.97</c:v>
                </c:pt>
                <c:pt idx="5497">
                  <c:v>3383.54</c:v>
                </c:pt>
                <c:pt idx="5498">
                  <c:v>3401.2</c:v>
                </c:pt>
                <c:pt idx="5499">
                  <c:v>3385.49</c:v>
                </c:pt>
                <c:pt idx="5500">
                  <c:v>3357.01</c:v>
                </c:pt>
                <c:pt idx="5501">
                  <c:v>3319.47</c:v>
                </c:pt>
                <c:pt idx="5502">
                  <c:v>3281.06</c:v>
                </c:pt>
                <c:pt idx="5503">
                  <c:v>3315.57</c:v>
                </c:pt>
                <c:pt idx="5504">
                  <c:v>3236.92</c:v>
                </c:pt>
                <c:pt idx="5505">
                  <c:v>3246.59</c:v>
                </c:pt>
                <c:pt idx="5506">
                  <c:v>3298.46</c:v>
                </c:pt>
                <c:pt idx="5507">
                  <c:v>3351.6</c:v>
                </c:pt>
                <c:pt idx="5508">
                  <c:v>3335.47</c:v>
                </c:pt>
                <c:pt idx="5509">
                  <c:v>3363</c:v>
                </c:pt>
                <c:pt idx="5510">
                  <c:v>3380.8</c:v>
                </c:pt>
                <c:pt idx="5511">
                  <c:v>3348.44</c:v>
                </c:pt>
                <c:pt idx="5512">
                  <c:v>3408.63</c:v>
                </c:pt>
                <c:pt idx="5513">
                  <c:v>3360.95</c:v>
                </c:pt>
                <c:pt idx="5514">
                  <c:v>3419.45</c:v>
                </c:pt>
                <c:pt idx="5515">
                  <c:v>3446.83</c:v>
                </c:pt>
                <c:pt idx="5516">
                  <c:v>3477.13</c:v>
                </c:pt>
                <c:pt idx="5517">
                  <c:v>3534.22</c:v>
                </c:pt>
                <c:pt idx="5518">
                  <c:v>3511.93</c:v>
                </c:pt>
                <c:pt idx="5519">
                  <c:v>3488.67</c:v>
                </c:pt>
                <c:pt idx="5520">
                  <c:v>3483.34</c:v>
                </c:pt>
                <c:pt idx="5521">
                  <c:v>3483.81</c:v>
                </c:pt>
                <c:pt idx="5522">
                  <c:v>3426.92</c:v>
                </c:pt>
                <c:pt idx="5523">
                  <c:v>3443.12</c:v>
                </c:pt>
                <c:pt idx="5524">
                  <c:v>3435.56</c:v>
                </c:pt>
                <c:pt idx="5525">
                  <c:v>3453.49</c:v>
                </c:pt>
                <c:pt idx="5526">
                  <c:v>3465.39</c:v>
                </c:pt>
                <c:pt idx="5527">
                  <c:v>3400.97</c:v>
                </c:pt>
                <c:pt idx="5528">
                  <c:v>3390.68</c:v>
                </c:pt>
                <c:pt idx="5529">
                  <c:v>3271.03</c:v>
                </c:pt>
                <c:pt idx="5530">
                  <c:v>3310.11</c:v>
                </c:pt>
                <c:pt idx="5531">
                  <c:v>3269.96</c:v>
                </c:pt>
                <c:pt idx="5532">
                  <c:v>3310.24</c:v>
                </c:pt>
                <c:pt idx="5533">
                  <c:v>3369.16</c:v>
                </c:pt>
                <c:pt idx="5534">
                  <c:v>3443.44</c:v>
                </c:pt>
                <c:pt idx="5535">
                  <c:v>3510.45</c:v>
                </c:pt>
                <c:pt idx="5536">
                  <c:v>3509.44</c:v>
                </c:pt>
                <c:pt idx="5537">
                  <c:v>3550.5</c:v>
                </c:pt>
                <c:pt idx="5538">
                  <c:v>3545.53</c:v>
                </c:pt>
                <c:pt idx="5539">
                  <c:v>3572.66</c:v>
                </c:pt>
                <c:pt idx="5540">
                  <c:v>3537.01</c:v>
                </c:pt>
                <c:pt idx="5541">
                  <c:v>3585.15</c:v>
                </c:pt>
                <c:pt idx="5542">
                  <c:v>3626.91</c:v>
                </c:pt>
                <c:pt idx="5543">
                  <c:v>3609.53</c:v>
                </c:pt>
                <c:pt idx="5544">
                  <c:v>3567.79</c:v>
                </c:pt>
                <c:pt idx="5545">
                  <c:v>3581.87</c:v>
                </c:pt>
                <c:pt idx="5546">
                  <c:v>3557.54</c:v>
                </c:pt>
                <c:pt idx="5547">
                  <c:v>3577.59</c:v>
                </c:pt>
                <c:pt idx="5548">
                  <c:v>3635.41</c:v>
                </c:pt>
                <c:pt idx="5549">
                  <c:v>3629.65</c:v>
                </c:pt>
                <c:pt idx="5550">
                  <c:v>3629.65</c:v>
                </c:pt>
                <c:pt idx="5551">
                  <c:v>3638.35</c:v>
                </c:pt>
                <c:pt idx="5552">
                  <c:v>3621.63</c:v>
                </c:pt>
                <c:pt idx="5553">
                  <c:v>3662.45</c:v>
                </c:pt>
                <c:pt idx="5554">
                  <c:v>3669.01</c:v>
                </c:pt>
                <c:pt idx="5555">
                  <c:v>3666.72</c:v>
                </c:pt>
                <c:pt idx="5556">
                  <c:v>3699.12</c:v>
                </c:pt>
                <c:pt idx="5557">
                  <c:v>3691.96</c:v>
                </c:pt>
                <c:pt idx="5558">
                  <c:v>3702.25</c:v>
                </c:pt>
                <c:pt idx="5559">
                  <c:v>3672.82</c:v>
                </c:pt>
                <c:pt idx="5560">
                  <c:v>3668.1</c:v>
                </c:pt>
                <c:pt idx="5561">
                  <c:v>3663.46</c:v>
                </c:pt>
                <c:pt idx="5562">
                  <c:v>3647.49</c:v>
                </c:pt>
                <c:pt idx="5563">
                  <c:v>3694.62</c:v>
                </c:pt>
                <c:pt idx="5564">
                  <c:v>3701.17</c:v>
                </c:pt>
                <c:pt idx="5565">
                  <c:v>3722.48</c:v>
                </c:pt>
                <c:pt idx="5566">
                  <c:v>3709.41</c:v>
                </c:pt>
                <c:pt idx="5567">
                  <c:v>3694.92</c:v>
                </c:pt>
                <c:pt idx="5568">
                  <c:v>3687.26</c:v>
                </c:pt>
                <c:pt idx="5569">
                  <c:v>3690.01</c:v>
                </c:pt>
                <c:pt idx="5570">
                  <c:v>3703.06</c:v>
                </c:pt>
                <c:pt idx="5571">
                  <c:v>3703.06</c:v>
                </c:pt>
                <c:pt idx="5572">
                  <c:v>3735.36</c:v>
                </c:pt>
                <c:pt idx="5573">
                  <c:v>3727.04</c:v>
                </c:pt>
                <c:pt idx="5574">
                  <c:v>3732.04</c:v>
                </c:pt>
                <c:pt idx="5575">
                  <c:v>3756.07</c:v>
                </c:pt>
                <c:pt idx="5576">
                  <c:v>3756.07</c:v>
                </c:pt>
                <c:pt idx="5577">
                  <c:v>3700.65</c:v>
                </c:pt>
                <c:pt idx="5578">
                  <c:v>3726.86</c:v>
                </c:pt>
                <c:pt idx="5579">
                  <c:v>3748.14</c:v>
                </c:pt>
                <c:pt idx="5580">
                  <c:v>3803.79</c:v>
                </c:pt>
                <c:pt idx="5581">
                  <c:v>3824.68</c:v>
                </c:pt>
                <c:pt idx="5582">
                  <c:v>3799.61</c:v>
                </c:pt>
                <c:pt idx="5583">
                  <c:v>3801.19</c:v>
                </c:pt>
                <c:pt idx="5584">
                  <c:v>3809.84</c:v>
                </c:pt>
                <c:pt idx="5585">
                  <c:v>3795.54</c:v>
                </c:pt>
                <c:pt idx="5586">
                  <c:v>3768.25</c:v>
                </c:pt>
                <c:pt idx="5587">
                  <c:v>3768.25</c:v>
                </c:pt>
                <c:pt idx="5588">
                  <c:v>3798.91</c:v>
                </c:pt>
                <c:pt idx="5589">
                  <c:v>3851.85</c:v>
                </c:pt>
                <c:pt idx="5590">
                  <c:v>3853.07</c:v>
                </c:pt>
                <c:pt idx="5591">
                  <c:v>3841.47</c:v>
                </c:pt>
                <c:pt idx="5592">
                  <c:v>3855.36</c:v>
                </c:pt>
                <c:pt idx="5593">
                  <c:v>3849.62</c:v>
                </c:pt>
                <c:pt idx="5594">
                  <c:v>3750.77</c:v>
                </c:pt>
                <c:pt idx="5595">
                  <c:v>3787.38</c:v>
                </c:pt>
                <c:pt idx="5596">
                  <c:v>3714.24</c:v>
                </c:pt>
                <c:pt idx="5597">
                  <c:v>3773.86</c:v>
                </c:pt>
                <c:pt idx="5598">
                  <c:v>3826.31</c:v>
                </c:pt>
                <c:pt idx="5599">
                  <c:v>3830.17</c:v>
                </c:pt>
                <c:pt idx="5600">
                  <c:v>3871.74</c:v>
                </c:pt>
                <c:pt idx="5601">
                  <c:v>3886.83</c:v>
                </c:pt>
                <c:pt idx="5602">
                  <c:v>3915.59</c:v>
                </c:pt>
                <c:pt idx="5603">
                  <c:v>3911.23</c:v>
                </c:pt>
                <c:pt idx="5604">
                  <c:v>3909.88</c:v>
                </c:pt>
                <c:pt idx="5605">
                  <c:v>3916.38</c:v>
                </c:pt>
                <c:pt idx="5606">
                  <c:v>3934.83</c:v>
                </c:pt>
                <c:pt idx="5607">
                  <c:v>3934.83</c:v>
                </c:pt>
                <c:pt idx="5608">
                  <c:v>3932.59</c:v>
                </c:pt>
                <c:pt idx="5609">
                  <c:v>3931.33</c:v>
                </c:pt>
                <c:pt idx="5610">
                  <c:v>3913.97</c:v>
                </c:pt>
                <c:pt idx="5611">
                  <c:v>3906.71</c:v>
                </c:pt>
                <c:pt idx="5612">
                  <c:v>3876.5</c:v>
                </c:pt>
                <c:pt idx="5613">
                  <c:v>3881.37</c:v>
                </c:pt>
                <c:pt idx="5614">
                  <c:v>3925.43</c:v>
                </c:pt>
                <c:pt idx="5615">
                  <c:v>3829.34</c:v>
                </c:pt>
                <c:pt idx="5616">
                  <c:v>3811.15</c:v>
                </c:pt>
                <c:pt idx="5617">
                  <c:v>3901.82</c:v>
                </c:pt>
                <c:pt idx="5618">
                  <c:v>3870.29</c:v>
                </c:pt>
                <c:pt idx="5619">
                  <c:v>3819.72</c:v>
                </c:pt>
                <c:pt idx="5620">
                  <c:v>3768.47</c:v>
                </c:pt>
                <c:pt idx="5621">
                  <c:v>3841.94</c:v>
                </c:pt>
                <c:pt idx="5622">
                  <c:v>3821.35</c:v>
                </c:pt>
                <c:pt idx="5623">
                  <c:v>3875.44</c:v>
                </c:pt>
                <c:pt idx="5624">
                  <c:v>3898.81</c:v>
                </c:pt>
                <c:pt idx="5625">
                  <c:v>3939.34</c:v>
                </c:pt>
                <c:pt idx="5626">
                  <c:v>3943.34</c:v>
                </c:pt>
                <c:pt idx="5627">
                  <c:v>3968.94</c:v>
                </c:pt>
                <c:pt idx="5628">
                  <c:v>3962.71</c:v>
                </c:pt>
                <c:pt idx="5629">
                  <c:v>3974.12</c:v>
                </c:pt>
                <c:pt idx="5630">
                  <c:v>3915.46</c:v>
                </c:pt>
                <c:pt idx="5631">
                  <c:v>3913.1</c:v>
                </c:pt>
                <c:pt idx="5632">
                  <c:v>3940.59</c:v>
                </c:pt>
                <c:pt idx="5633">
                  <c:v>3910.52</c:v>
                </c:pt>
                <c:pt idx="5634">
                  <c:v>3889.14</c:v>
                </c:pt>
                <c:pt idx="5635">
                  <c:v>3909.52</c:v>
                </c:pt>
                <c:pt idx="5636">
                  <c:v>3974.54</c:v>
                </c:pt>
                <c:pt idx="5637">
                  <c:v>3971.09</c:v>
                </c:pt>
                <c:pt idx="5638">
                  <c:v>3958.55</c:v>
                </c:pt>
                <c:pt idx="5639">
                  <c:v>3972.89</c:v>
                </c:pt>
                <c:pt idx="5640">
                  <c:v>4019.87</c:v>
                </c:pt>
                <c:pt idx="5641">
                  <c:v>4019.87</c:v>
                </c:pt>
                <c:pt idx="5642">
                  <c:v>4077.91</c:v>
                </c:pt>
                <c:pt idx="5643">
                  <c:v>4073.94</c:v>
                </c:pt>
                <c:pt idx="5644">
                  <c:v>4079.95</c:v>
                </c:pt>
                <c:pt idx="5645">
                  <c:v>4097.17</c:v>
                </c:pt>
                <c:pt idx="5646">
                  <c:v>4128.8</c:v>
                </c:pt>
                <c:pt idx="5647">
                  <c:v>4127.99</c:v>
                </c:pt>
                <c:pt idx="5648">
                  <c:v>4141.59</c:v>
                </c:pt>
                <c:pt idx="5649">
                  <c:v>4124.66</c:v>
                </c:pt>
                <c:pt idx="5650">
                  <c:v>4170.42</c:v>
                </c:pt>
                <c:pt idx="5651">
                  <c:v>4185.47</c:v>
                </c:pt>
                <c:pt idx="5652">
                  <c:v>4163.26</c:v>
                </c:pt>
                <c:pt idx="5653">
                  <c:v>4134.9399999999996</c:v>
                </c:pt>
                <c:pt idx="5654">
                  <c:v>4173.42</c:v>
                </c:pt>
                <c:pt idx="5655">
                  <c:v>4134.9799999999996</c:v>
                </c:pt>
                <c:pt idx="5656">
                  <c:v>4180.17</c:v>
                </c:pt>
                <c:pt idx="5657">
                  <c:v>4187.62</c:v>
                </c:pt>
                <c:pt idx="5658">
                  <c:v>4186.72</c:v>
                </c:pt>
                <c:pt idx="5659">
                  <c:v>4183.18</c:v>
                </c:pt>
                <c:pt idx="5660">
                  <c:v>4211.47</c:v>
                </c:pt>
                <c:pt idx="5661">
                  <c:v>4181.17</c:v>
                </c:pt>
                <c:pt idx="5662">
                  <c:v>4192.66</c:v>
                </c:pt>
                <c:pt idx="5663">
                  <c:v>4164.66</c:v>
                </c:pt>
                <c:pt idx="5664">
                  <c:v>4167.59</c:v>
                </c:pt>
                <c:pt idx="5665">
                  <c:v>4201.62</c:v>
                </c:pt>
                <c:pt idx="5666">
                  <c:v>4232.6000000000004</c:v>
                </c:pt>
                <c:pt idx="5667">
                  <c:v>4188.43</c:v>
                </c:pt>
                <c:pt idx="5668">
                  <c:v>4152.1000000000004</c:v>
                </c:pt>
                <c:pt idx="5669">
                  <c:v>4063.04</c:v>
                </c:pt>
                <c:pt idx="5670">
                  <c:v>4112.5</c:v>
                </c:pt>
                <c:pt idx="5671">
                  <c:v>4173.8500000000004</c:v>
                </c:pt>
                <c:pt idx="5672">
                  <c:v>4163.29</c:v>
                </c:pt>
                <c:pt idx="5673">
                  <c:v>4127.83</c:v>
                </c:pt>
                <c:pt idx="5674">
                  <c:v>4115.68</c:v>
                </c:pt>
                <c:pt idx="5675">
                  <c:v>4159.12</c:v>
                </c:pt>
                <c:pt idx="5676">
                  <c:v>4155.8599999999997</c:v>
                </c:pt>
                <c:pt idx="5677">
                  <c:v>4197.05</c:v>
                </c:pt>
                <c:pt idx="5678">
                  <c:v>4188.13</c:v>
                </c:pt>
                <c:pt idx="5679">
                  <c:v>4195.99</c:v>
                </c:pt>
                <c:pt idx="5680">
                  <c:v>4200.88</c:v>
                </c:pt>
                <c:pt idx="5681">
                  <c:v>4204.1099999999997</c:v>
                </c:pt>
                <c:pt idx="5682">
                  <c:v>4204.1099999999997</c:v>
                </c:pt>
                <c:pt idx="5683">
                  <c:v>4202.04</c:v>
                </c:pt>
                <c:pt idx="5684">
                  <c:v>4208.12</c:v>
                </c:pt>
                <c:pt idx="5685">
                  <c:v>4192.8500000000004</c:v>
                </c:pt>
                <c:pt idx="5686">
                  <c:v>4229.8900000000003</c:v>
                </c:pt>
                <c:pt idx="5687">
                  <c:v>4226.5200000000004</c:v>
                </c:pt>
                <c:pt idx="5688">
                  <c:v>4227.26</c:v>
                </c:pt>
                <c:pt idx="5689">
                  <c:v>4219.55</c:v>
                </c:pt>
                <c:pt idx="5690">
                  <c:v>4239.18</c:v>
                </c:pt>
                <c:pt idx="5691">
                  <c:v>4247.4399999999996</c:v>
                </c:pt>
                <c:pt idx="5692">
                  <c:v>4255.1499999999996</c:v>
                </c:pt>
                <c:pt idx="5693">
                  <c:v>4246.59</c:v>
                </c:pt>
                <c:pt idx="5694">
                  <c:v>4223.7</c:v>
                </c:pt>
                <c:pt idx="5695">
                  <c:v>4221.8599999999997</c:v>
                </c:pt>
                <c:pt idx="5696">
                  <c:v>4166.45</c:v>
                </c:pt>
                <c:pt idx="5697">
                  <c:v>4224.79</c:v>
                </c:pt>
                <c:pt idx="5698">
                  <c:v>4246.4399999999996</c:v>
                </c:pt>
                <c:pt idx="5699">
                  <c:v>4241.84</c:v>
                </c:pt>
                <c:pt idx="5700">
                  <c:v>4266.49</c:v>
                </c:pt>
                <c:pt idx="5701">
                  <c:v>4280.7</c:v>
                </c:pt>
                <c:pt idx="5702">
                  <c:v>4290.6099999999997</c:v>
                </c:pt>
                <c:pt idx="5703">
                  <c:v>4291.8</c:v>
                </c:pt>
                <c:pt idx="5704">
                  <c:v>4297.5</c:v>
                </c:pt>
                <c:pt idx="5705">
                  <c:v>4319.9399999999996</c:v>
                </c:pt>
                <c:pt idx="5706">
                  <c:v>4352.34</c:v>
                </c:pt>
                <c:pt idx="5707">
                  <c:v>4352.34</c:v>
                </c:pt>
                <c:pt idx="5708">
                  <c:v>4343.54</c:v>
                </c:pt>
                <c:pt idx="5709">
                  <c:v>4358.13</c:v>
                </c:pt>
                <c:pt idx="5710">
                  <c:v>4320.82</c:v>
                </c:pt>
                <c:pt idx="5711">
                  <c:v>4369.55</c:v>
                </c:pt>
                <c:pt idx="5712">
                  <c:v>4384.63</c:v>
                </c:pt>
                <c:pt idx="5713">
                  <c:v>4369.21</c:v>
                </c:pt>
                <c:pt idx="5714">
                  <c:v>4374.3</c:v>
                </c:pt>
                <c:pt idx="5715">
                  <c:v>4360.03</c:v>
                </c:pt>
                <c:pt idx="5716">
                  <c:v>4327.16</c:v>
                </c:pt>
                <c:pt idx="5717">
                  <c:v>4258.49</c:v>
                </c:pt>
                <c:pt idx="5718">
                  <c:v>4323.0600000000004</c:v>
                </c:pt>
                <c:pt idx="5719">
                  <c:v>4358.6899999999996</c:v>
                </c:pt>
                <c:pt idx="5720">
                  <c:v>4367.4799999999996</c:v>
                </c:pt>
                <c:pt idx="5721">
                  <c:v>4411.79</c:v>
                </c:pt>
                <c:pt idx="5722">
                  <c:v>4422.3</c:v>
                </c:pt>
                <c:pt idx="5723">
                  <c:v>4401.46</c:v>
                </c:pt>
                <c:pt idx="5724">
                  <c:v>4400.6400000000003</c:v>
                </c:pt>
                <c:pt idx="5725">
                  <c:v>4419.1499999999996</c:v>
                </c:pt>
                <c:pt idx="5726">
                  <c:v>4395.26</c:v>
                </c:pt>
                <c:pt idx="5727">
                  <c:v>4387.16</c:v>
                </c:pt>
                <c:pt idx="5728">
                  <c:v>4423.1499999999996</c:v>
                </c:pt>
                <c:pt idx="5729">
                  <c:v>4402.66</c:v>
                </c:pt>
                <c:pt idx="5730">
                  <c:v>4429.1000000000004</c:v>
                </c:pt>
                <c:pt idx="5731">
                  <c:v>4436.5200000000004</c:v>
                </c:pt>
                <c:pt idx="5732">
                  <c:v>4432.3500000000004</c:v>
                </c:pt>
                <c:pt idx="5733">
                  <c:v>4436.75</c:v>
                </c:pt>
                <c:pt idx="5734">
                  <c:v>4447.7</c:v>
                </c:pt>
                <c:pt idx="5735">
                  <c:v>4460.83</c:v>
                </c:pt>
                <c:pt idx="5736">
                  <c:v>4468</c:v>
                </c:pt>
                <c:pt idx="5737">
                  <c:v>4479.71</c:v>
                </c:pt>
                <c:pt idx="5738">
                  <c:v>4448.08</c:v>
                </c:pt>
                <c:pt idx="5739">
                  <c:v>4400.2700000000004</c:v>
                </c:pt>
                <c:pt idx="5740">
                  <c:v>4405.8</c:v>
                </c:pt>
              </c:numCache>
            </c:numRef>
          </c:val>
          <c:smooth val="0"/>
          <c:extLst>
            <c:ext xmlns:c16="http://schemas.microsoft.com/office/drawing/2014/chart" uri="{C3380CC4-5D6E-409C-BE32-E72D297353CC}">
              <c16:uniqueId val="{00000000-565B-4514-A3AE-2D64574F7533}"/>
            </c:ext>
          </c:extLst>
        </c:ser>
        <c:dLbls>
          <c:showLegendKey val="0"/>
          <c:showVal val="0"/>
          <c:showCatName val="0"/>
          <c:showSerName val="0"/>
          <c:showPercent val="0"/>
          <c:showBubbleSize val="0"/>
        </c:dLbls>
        <c:smooth val="0"/>
        <c:axId val="185318799"/>
        <c:axId val="185317815"/>
      </c:lineChart>
      <c:dateAx>
        <c:axId val="185318799"/>
        <c:scaling>
          <c:orientation val="minMax"/>
          <c:min val="37122"/>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85317815"/>
        <c:crosses val="autoZero"/>
        <c:auto val="1"/>
        <c:lblOffset val="100"/>
        <c:baseTimeUnit val="days"/>
        <c:majorUnit val="3"/>
        <c:majorTimeUnit val="years"/>
      </c:dateAx>
      <c:valAx>
        <c:axId val="18531781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853187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lgn="ctr">
            <a:defRPr lang="en-US"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lgn="ctr">
        <a:defRPr lang="en-US"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en-GB"/>
              <a:t>Prognose: </a:t>
            </a:r>
            <a:r>
              <a:rPr lang="en-GB" err="1"/>
              <a:t>Regionales</a:t>
            </a:r>
            <a:r>
              <a:rPr lang="en-GB"/>
              <a:t> BIP-</a:t>
            </a:r>
            <a:r>
              <a:rPr lang="en-GB" err="1"/>
              <a:t>Wachstum</a:t>
            </a:r>
            <a:r>
              <a:rPr lang="en-GB"/>
              <a:t> </a:t>
            </a:r>
            <a:r>
              <a:rPr lang="en-GB" err="1"/>
              <a:t>während</a:t>
            </a:r>
            <a:r>
              <a:rPr lang="en-GB"/>
              <a:t> &amp; </a:t>
            </a:r>
            <a:r>
              <a:rPr lang="en-GB" err="1"/>
              <a:t>nach</a:t>
            </a:r>
            <a:r>
              <a:rPr lang="en-GB"/>
              <a:t> Corona*</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barChart>
        <c:barDir val="col"/>
        <c:grouping val="clustered"/>
        <c:varyColors val="0"/>
        <c:ser>
          <c:idx val="0"/>
          <c:order val="0"/>
          <c:tx>
            <c:strRef>
              <c:f>nominal!$M$366</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malia" panose="020B0504020203020204" pitchFamily="34"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ominal!$L$367:$L$375</c:f>
              <c:strCache>
                <c:ptCount val="9"/>
                <c:pt idx="0">
                  <c:v>Bgld.</c:v>
                </c:pt>
                <c:pt idx="1">
                  <c:v>Wien</c:v>
                </c:pt>
                <c:pt idx="2">
                  <c:v>Ktn.</c:v>
                </c:pt>
                <c:pt idx="3">
                  <c:v>NÖ</c:v>
                </c:pt>
                <c:pt idx="4">
                  <c:v>OÖ</c:v>
                </c:pt>
                <c:pt idx="5">
                  <c:v>Vbg.</c:v>
                </c:pt>
                <c:pt idx="6">
                  <c:v>Stmk.</c:v>
                </c:pt>
                <c:pt idx="7">
                  <c:v>Sbg.</c:v>
                </c:pt>
                <c:pt idx="8">
                  <c:v>T</c:v>
                </c:pt>
              </c:strCache>
            </c:strRef>
          </c:cat>
          <c:val>
            <c:numRef>
              <c:f>nominal!$M$367:$M$375</c:f>
              <c:numCache>
                <c:formatCode>General</c:formatCode>
                <c:ptCount val="9"/>
                <c:pt idx="0">
                  <c:v>-5</c:v>
                </c:pt>
                <c:pt idx="1">
                  <c:v>-5.6</c:v>
                </c:pt>
                <c:pt idx="2">
                  <c:v>-5.6</c:v>
                </c:pt>
                <c:pt idx="3">
                  <c:v>-5.9</c:v>
                </c:pt>
                <c:pt idx="4">
                  <c:v>-6</c:v>
                </c:pt>
                <c:pt idx="5">
                  <c:v>-6.4</c:v>
                </c:pt>
                <c:pt idx="6">
                  <c:v>-6.8</c:v>
                </c:pt>
                <c:pt idx="7">
                  <c:v>-6.8</c:v>
                </c:pt>
                <c:pt idx="8">
                  <c:v>-9.1999999999999993</c:v>
                </c:pt>
              </c:numCache>
            </c:numRef>
          </c:val>
          <c:extLst>
            <c:ext xmlns:c16="http://schemas.microsoft.com/office/drawing/2014/chart" uri="{C3380CC4-5D6E-409C-BE32-E72D297353CC}">
              <c16:uniqueId val="{00000000-D00A-4E5D-A24D-EC13154D0150}"/>
            </c:ext>
          </c:extLst>
        </c:ser>
        <c:ser>
          <c:idx val="1"/>
          <c:order val="1"/>
          <c:tx>
            <c:strRef>
              <c:f>nominal!$N$366</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malia" panose="020B0504020203020204" pitchFamily="34"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ominal!$L$367:$L$375</c:f>
              <c:strCache>
                <c:ptCount val="9"/>
                <c:pt idx="0">
                  <c:v>Bgld.</c:v>
                </c:pt>
                <c:pt idx="1">
                  <c:v>Wien</c:v>
                </c:pt>
                <c:pt idx="2">
                  <c:v>Ktn.</c:v>
                </c:pt>
                <c:pt idx="3">
                  <c:v>NÖ</c:v>
                </c:pt>
                <c:pt idx="4">
                  <c:v>OÖ</c:v>
                </c:pt>
                <c:pt idx="5">
                  <c:v>Vbg.</c:v>
                </c:pt>
                <c:pt idx="6">
                  <c:v>Stmk.</c:v>
                </c:pt>
                <c:pt idx="7">
                  <c:v>Sbg.</c:v>
                </c:pt>
                <c:pt idx="8">
                  <c:v>T</c:v>
                </c:pt>
              </c:strCache>
            </c:strRef>
          </c:cat>
          <c:val>
            <c:numRef>
              <c:f>nominal!$N$367:$N$375</c:f>
              <c:numCache>
                <c:formatCode>0.0</c:formatCode>
                <c:ptCount val="9"/>
                <c:pt idx="0">
                  <c:v>4.1645380044072722</c:v>
                </c:pt>
                <c:pt idx="1">
                  <c:v>4.3471132278772027</c:v>
                </c:pt>
                <c:pt idx="2">
                  <c:v>4.4222823947290637</c:v>
                </c:pt>
                <c:pt idx="3">
                  <c:v>4.7346562324540979</c:v>
                </c:pt>
                <c:pt idx="4">
                  <c:v>5.1157380249203337</c:v>
                </c:pt>
                <c:pt idx="5">
                  <c:v>4.5699006660728676</c:v>
                </c:pt>
                <c:pt idx="6">
                  <c:v>4.710114178786263</c:v>
                </c:pt>
                <c:pt idx="7">
                  <c:v>4.150973628273749</c:v>
                </c:pt>
                <c:pt idx="8">
                  <c:v>3.6078783323478754</c:v>
                </c:pt>
              </c:numCache>
            </c:numRef>
          </c:val>
          <c:extLst>
            <c:ext xmlns:c16="http://schemas.microsoft.com/office/drawing/2014/chart" uri="{C3380CC4-5D6E-409C-BE32-E72D297353CC}">
              <c16:uniqueId val="{00000001-D00A-4E5D-A24D-EC13154D0150}"/>
            </c:ext>
          </c:extLst>
        </c:ser>
        <c:ser>
          <c:idx val="2"/>
          <c:order val="2"/>
          <c:tx>
            <c:strRef>
              <c:f>nominal!$O$366</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malia" panose="020B0504020203020204" pitchFamily="34"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ominal!$L$367:$L$375</c:f>
              <c:strCache>
                <c:ptCount val="9"/>
                <c:pt idx="0">
                  <c:v>Bgld.</c:v>
                </c:pt>
                <c:pt idx="1">
                  <c:v>Wien</c:v>
                </c:pt>
                <c:pt idx="2">
                  <c:v>Ktn.</c:v>
                </c:pt>
                <c:pt idx="3">
                  <c:v>NÖ</c:v>
                </c:pt>
                <c:pt idx="4">
                  <c:v>OÖ</c:v>
                </c:pt>
                <c:pt idx="5">
                  <c:v>Vbg.</c:v>
                </c:pt>
                <c:pt idx="6">
                  <c:v>Stmk.</c:v>
                </c:pt>
                <c:pt idx="7">
                  <c:v>Sbg.</c:v>
                </c:pt>
                <c:pt idx="8">
                  <c:v>T</c:v>
                </c:pt>
              </c:strCache>
            </c:strRef>
          </c:cat>
          <c:val>
            <c:numRef>
              <c:f>nominal!$O$367:$O$375</c:f>
              <c:numCache>
                <c:formatCode>0.0</c:formatCode>
                <c:ptCount val="9"/>
                <c:pt idx="0">
                  <c:v>5.9053475580546992</c:v>
                </c:pt>
                <c:pt idx="1">
                  <c:v>4.590451951618749</c:v>
                </c:pt>
                <c:pt idx="2">
                  <c:v>6.587438960236641</c:v>
                </c:pt>
                <c:pt idx="3">
                  <c:v>4.8397327620666788</c:v>
                </c:pt>
                <c:pt idx="4">
                  <c:v>4.3726693464755311</c:v>
                </c:pt>
                <c:pt idx="5">
                  <c:v>6.9887935213688044</c:v>
                </c:pt>
                <c:pt idx="6">
                  <c:v>5.123080087474837</c:v>
                </c:pt>
                <c:pt idx="7">
                  <c:v>8.8577362035048726</c:v>
                </c:pt>
                <c:pt idx="8">
                  <c:v>11.224978343546956</c:v>
                </c:pt>
              </c:numCache>
            </c:numRef>
          </c:val>
          <c:extLst>
            <c:ext xmlns:c16="http://schemas.microsoft.com/office/drawing/2014/chart" uri="{C3380CC4-5D6E-409C-BE32-E72D297353CC}">
              <c16:uniqueId val="{00000002-D00A-4E5D-A24D-EC13154D0150}"/>
            </c:ext>
          </c:extLst>
        </c:ser>
        <c:dLbls>
          <c:showLegendKey val="0"/>
          <c:showVal val="0"/>
          <c:showCatName val="0"/>
          <c:showSerName val="0"/>
          <c:showPercent val="0"/>
          <c:showBubbleSize val="0"/>
        </c:dLbls>
        <c:gapWidth val="219"/>
        <c:overlap val="-27"/>
        <c:axId val="168196135"/>
        <c:axId val="168188263"/>
      </c:barChart>
      <c:lineChart>
        <c:grouping val="standard"/>
        <c:varyColors val="0"/>
        <c:ser>
          <c:idx val="3"/>
          <c:order val="3"/>
          <c:tx>
            <c:strRef>
              <c:f>nominal!$P$366</c:f>
              <c:strCache>
                <c:ptCount val="1"/>
                <c:pt idx="0">
                  <c:v>Österreich (2020)</c:v>
                </c:pt>
              </c:strCache>
            </c:strRef>
          </c:tx>
          <c:spPr>
            <a:ln w="19050" cap="rnd">
              <a:solidFill>
                <a:schemeClr val="accent1"/>
              </a:solidFill>
              <a:round/>
            </a:ln>
            <a:effectLst/>
          </c:spPr>
          <c:marker>
            <c:symbol val="none"/>
          </c:marker>
          <c:cat>
            <c:strRef>
              <c:f>nominal!$L$367:$L$375</c:f>
              <c:strCache>
                <c:ptCount val="9"/>
                <c:pt idx="0">
                  <c:v>Bgld.</c:v>
                </c:pt>
                <c:pt idx="1">
                  <c:v>Wien</c:v>
                </c:pt>
                <c:pt idx="2">
                  <c:v>Ktn.</c:v>
                </c:pt>
                <c:pt idx="3">
                  <c:v>NÖ</c:v>
                </c:pt>
                <c:pt idx="4">
                  <c:v>OÖ</c:v>
                </c:pt>
                <c:pt idx="5">
                  <c:v>Vbg.</c:v>
                </c:pt>
                <c:pt idx="6">
                  <c:v>Stmk.</c:v>
                </c:pt>
                <c:pt idx="7">
                  <c:v>Sbg.</c:v>
                </c:pt>
                <c:pt idx="8">
                  <c:v>T</c:v>
                </c:pt>
              </c:strCache>
            </c:strRef>
          </c:cat>
          <c:val>
            <c:numRef>
              <c:f>nominal!$P$367:$P$375</c:f>
              <c:numCache>
                <c:formatCode>General</c:formatCode>
                <c:ptCount val="9"/>
                <c:pt idx="0">
                  <c:v>-6.7</c:v>
                </c:pt>
                <c:pt idx="1">
                  <c:v>-6.7</c:v>
                </c:pt>
                <c:pt idx="2">
                  <c:v>-6.7</c:v>
                </c:pt>
                <c:pt idx="3">
                  <c:v>-6.7</c:v>
                </c:pt>
                <c:pt idx="4">
                  <c:v>-6.7</c:v>
                </c:pt>
                <c:pt idx="5">
                  <c:v>-6.7</c:v>
                </c:pt>
                <c:pt idx="6">
                  <c:v>-6.7</c:v>
                </c:pt>
                <c:pt idx="7">
                  <c:v>-6.7</c:v>
                </c:pt>
                <c:pt idx="8">
                  <c:v>-6.7</c:v>
                </c:pt>
              </c:numCache>
            </c:numRef>
          </c:val>
          <c:smooth val="0"/>
          <c:extLst>
            <c:ext xmlns:c16="http://schemas.microsoft.com/office/drawing/2014/chart" uri="{C3380CC4-5D6E-409C-BE32-E72D297353CC}">
              <c16:uniqueId val="{00000003-D00A-4E5D-A24D-EC13154D0150}"/>
            </c:ext>
          </c:extLst>
        </c:ser>
        <c:ser>
          <c:idx val="4"/>
          <c:order val="4"/>
          <c:tx>
            <c:strRef>
              <c:f>nominal!$Q$366</c:f>
              <c:strCache>
                <c:ptCount val="1"/>
                <c:pt idx="0">
                  <c:v>Österreich (2021/2022)</c:v>
                </c:pt>
              </c:strCache>
            </c:strRef>
          </c:tx>
          <c:spPr>
            <a:ln w="19050" cap="rnd">
              <a:solidFill>
                <a:schemeClr val="bg1">
                  <a:lumMod val="50000"/>
                </a:schemeClr>
              </a:solidFill>
              <a:round/>
            </a:ln>
            <a:effectLst/>
          </c:spPr>
          <c:marker>
            <c:symbol val="none"/>
          </c:marker>
          <c:cat>
            <c:strRef>
              <c:f>nominal!$L$367:$L$375</c:f>
              <c:strCache>
                <c:ptCount val="9"/>
                <c:pt idx="0">
                  <c:v>Bgld.</c:v>
                </c:pt>
                <c:pt idx="1">
                  <c:v>Wien</c:v>
                </c:pt>
                <c:pt idx="2">
                  <c:v>Ktn.</c:v>
                </c:pt>
                <c:pt idx="3">
                  <c:v>NÖ</c:v>
                </c:pt>
                <c:pt idx="4">
                  <c:v>OÖ</c:v>
                </c:pt>
                <c:pt idx="5">
                  <c:v>Vbg.</c:v>
                </c:pt>
                <c:pt idx="6">
                  <c:v>Stmk.</c:v>
                </c:pt>
                <c:pt idx="7">
                  <c:v>Sbg.</c:v>
                </c:pt>
                <c:pt idx="8">
                  <c:v>T</c:v>
                </c:pt>
              </c:strCache>
            </c:strRef>
          </c:cat>
          <c:val>
            <c:numRef>
              <c:f>nominal!$Q$367:$Q$375</c:f>
              <c:numCache>
                <c:formatCode>General</c:formatCode>
                <c:ptCount val="9"/>
                <c:pt idx="0">
                  <c:v>4.5</c:v>
                </c:pt>
                <c:pt idx="1">
                  <c:v>4.5</c:v>
                </c:pt>
                <c:pt idx="2">
                  <c:v>4.5</c:v>
                </c:pt>
                <c:pt idx="3">
                  <c:v>4.5</c:v>
                </c:pt>
                <c:pt idx="4">
                  <c:v>4.5</c:v>
                </c:pt>
                <c:pt idx="5">
                  <c:v>4.5</c:v>
                </c:pt>
                <c:pt idx="6">
                  <c:v>4.5</c:v>
                </c:pt>
                <c:pt idx="7">
                  <c:v>4.5</c:v>
                </c:pt>
                <c:pt idx="8">
                  <c:v>4.5</c:v>
                </c:pt>
              </c:numCache>
            </c:numRef>
          </c:val>
          <c:smooth val="0"/>
          <c:extLst>
            <c:ext xmlns:c16="http://schemas.microsoft.com/office/drawing/2014/chart" uri="{C3380CC4-5D6E-409C-BE32-E72D297353CC}">
              <c16:uniqueId val="{00000004-D00A-4E5D-A24D-EC13154D0150}"/>
            </c:ext>
          </c:extLst>
        </c:ser>
        <c:dLbls>
          <c:showLegendKey val="0"/>
          <c:showVal val="0"/>
          <c:showCatName val="0"/>
          <c:showSerName val="0"/>
          <c:showPercent val="0"/>
          <c:showBubbleSize val="0"/>
        </c:dLbls>
        <c:marker val="1"/>
        <c:smooth val="0"/>
        <c:axId val="168196135"/>
        <c:axId val="168188263"/>
      </c:lineChart>
      <c:catAx>
        <c:axId val="16819613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68188263"/>
        <c:crosses val="autoZero"/>
        <c:auto val="1"/>
        <c:lblAlgn val="ctr"/>
        <c:lblOffset val="100"/>
        <c:noMultiLvlLbl val="0"/>
      </c:catAx>
      <c:valAx>
        <c:axId val="1681882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681961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Amalia" panose="020B0504020203020204" pitchFamily="34" charset="0"/>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2"/>
          <c:order val="0"/>
          <c:tx>
            <c:v>Stellenandrang*</c:v>
          </c:tx>
          <c:spPr>
            <a:ln w="28575">
              <a:solidFill>
                <a:srgbClr val="FEE600"/>
              </a:solidFill>
            </a:ln>
          </c:spPr>
          <c:marker>
            <c:symbol val="none"/>
          </c:marker>
          <c:cat>
            <c:numRef>
              <c:f>Arbeitsmarktdaten_AMS!$AQ$12:$AQ$214</c:f>
              <c:numCache>
                <c:formatCode>m/d/yyyy</c:formatCode>
                <c:ptCount val="203"/>
                <c:pt idx="0">
                  <c:v>44484</c:v>
                </c:pt>
                <c:pt idx="1">
                  <c:v>44454</c:v>
                </c:pt>
                <c:pt idx="2">
                  <c:v>44423</c:v>
                </c:pt>
                <c:pt idx="3">
                  <c:v>44392</c:v>
                </c:pt>
                <c:pt idx="4">
                  <c:v>44362</c:v>
                </c:pt>
                <c:pt idx="5">
                  <c:v>44331</c:v>
                </c:pt>
                <c:pt idx="6">
                  <c:v>44301</c:v>
                </c:pt>
                <c:pt idx="7">
                  <c:v>44270</c:v>
                </c:pt>
                <c:pt idx="8">
                  <c:v>44242</c:v>
                </c:pt>
                <c:pt idx="9">
                  <c:v>44211</c:v>
                </c:pt>
                <c:pt idx="10">
                  <c:v>44180</c:v>
                </c:pt>
                <c:pt idx="11">
                  <c:v>44150</c:v>
                </c:pt>
                <c:pt idx="12">
                  <c:v>44119</c:v>
                </c:pt>
                <c:pt idx="13">
                  <c:v>44089</c:v>
                </c:pt>
                <c:pt idx="14">
                  <c:v>44058</c:v>
                </c:pt>
                <c:pt idx="15">
                  <c:v>44027</c:v>
                </c:pt>
                <c:pt idx="16">
                  <c:v>43997</c:v>
                </c:pt>
                <c:pt idx="17">
                  <c:v>43966</c:v>
                </c:pt>
                <c:pt idx="18">
                  <c:v>43936</c:v>
                </c:pt>
                <c:pt idx="19">
                  <c:v>43905</c:v>
                </c:pt>
                <c:pt idx="20">
                  <c:v>43876</c:v>
                </c:pt>
                <c:pt idx="21">
                  <c:v>43845</c:v>
                </c:pt>
                <c:pt idx="22">
                  <c:v>43814</c:v>
                </c:pt>
                <c:pt idx="23">
                  <c:v>43784</c:v>
                </c:pt>
                <c:pt idx="24">
                  <c:v>43753</c:v>
                </c:pt>
                <c:pt idx="25">
                  <c:v>43723</c:v>
                </c:pt>
                <c:pt idx="26">
                  <c:v>43692</c:v>
                </c:pt>
                <c:pt idx="27">
                  <c:v>43661</c:v>
                </c:pt>
                <c:pt idx="28">
                  <c:v>43631</c:v>
                </c:pt>
                <c:pt idx="29">
                  <c:v>43600</c:v>
                </c:pt>
                <c:pt idx="30">
                  <c:v>43570</c:v>
                </c:pt>
                <c:pt idx="31">
                  <c:v>43539</c:v>
                </c:pt>
                <c:pt idx="32">
                  <c:v>43511</c:v>
                </c:pt>
                <c:pt idx="33">
                  <c:v>43480</c:v>
                </c:pt>
                <c:pt idx="34">
                  <c:v>43449</c:v>
                </c:pt>
                <c:pt idx="35">
                  <c:v>43419</c:v>
                </c:pt>
                <c:pt idx="36">
                  <c:v>43388</c:v>
                </c:pt>
                <c:pt idx="37">
                  <c:v>43358</c:v>
                </c:pt>
                <c:pt idx="38">
                  <c:v>43327</c:v>
                </c:pt>
                <c:pt idx="39">
                  <c:v>43296</c:v>
                </c:pt>
                <c:pt idx="40">
                  <c:v>43266</c:v>
                </c:pt>
                <c:pt idx="41">
                  <c:v>43235</c:v>
                </c:pt>
                <c:pt idx="42">
                  <c:v>43205</c:v>
                </c:pt>
                <c:pt idx="43">
                  <c:v>43174</c:v>
                </c:pt>
                <c:pt idx="44">
                  <c:v>43146</c:v>
                </c:pt>
                <c:pt idx="45">
                  <c:v>43115</c:v>
                </c:pt>
                <c:pt idx="46">
                  <c:v>43084</c:v>
                </c:pt>
                <c:pt idx="47">
                  <c:v>43054</c:v>
                </c:pt>
                <c:pt idx="48">
                  <c:v>43023</c:v>
                </c:pt>
                <c:pt idx="49">
                  <c:v>42993</c:v>
                </c:pt>
                <c:pt idx="50">
                  <c:v>42962</c:v>
                </c:pt>
                <c:pt idx="51">
                  <c:v>42931</c:v>
                </c:pt>
                <c:pt idx="52">
                  <c:v>42901</c:v>
                </c:pt>
                <c:pt idx="53">
                  <c:v>42870</c:v>
                </c:pt>
                <c:pt idx="54">
                  <c:v>42840</c:v>
                </c:pt>
                <c:pt idx="55">
                  <c:v>42809</c:v>
                </c:pt>
                <c:pt idx="56">
                  <c:v>42781</c:v>
                </c:pt>
                <c:pt idx="57">
                  <c:v>42750</c:v>
                </c:pt>
                <c:pt idx="58">
                  <c:v>42719</c:v>
                </c:pt>
                <c:pt idx="59">
                  <c:v>42689</c:v>
                </c:pt>
                <c:pt idx="60">
                  <c:v>42658</c:v>
                </c:pt>
                <c:pt idx="61">
                  <c:v>42628</c:v>
                </c:pt>
                <c:pt idx="62">
                  <c:v>42597</c:v>
                </c:pt>
                <c:pt idx="63">
                  <c:v>42566</c:v>
                </c:pt>
                <c:pt idx="64">
                  <c:v>42536</c:v>
                </c:pt>
                <c:pt idx="65">
                  <c:v>42505</c:v>
                </c:pt>
                <c:pt idx="66">
                  <c:v>42475</c:v>
                </c:pt>
                <c:pt idx="67">
                  <c:v>42444</c:v>
                </c:pt>
                <c:pt idx="68">
                  <c:v>42415</c:v>
                </c:pt>
                <c:pt idx="69">
                  <c:v>42384</c:v>
                </c:pt>
                <c:pt idx="70">
                  <c:v>42353</c:v>
                </c:pt>
                <c:pt idx="71">
                  <c:v>42323</c:v>
                </c:pt>
                <c:pt idx="72">
                  <c:v>42292</c:v>
                </c:pt>
                <c:pt idx="73">
                  <c:v>42262</c:v>
                </c:pt>
                <c:pt idx="74">
                  <c:v>42231</c:v>
                </c:pt>
                <c:pt idx="75">
                  <c:v>42200</c:v>
                </c:pt>
                <c:pt idx="76">
                  <c:v>42170</c:v>
                </c:pt>
                <c:pt idx="77">
                  <c:v>42139</c:v>
                </c:pt>
                <c:pt idx="78">
                  <c:v>42109</c:v>
                </c:pt>
                <c:pt idx="79">
                  <c:v>42078</c:v>
                </c:pt>
                <c:pt idx="80">
                  <c:v>42050</c:v>
                </c:pt>
                <c:pt idx="81">
                  <c:v>42019</c:v>
                </c:pt>
                <c:pt idx="82">
                  <c:v>41988</c:v>
                </c:pt>
                <c:pt idx="83">
                  <c:v>41958</c:v>
                </c:pt>
                <c:pt idx="84">
                  <c:v>41927</c:v>
                </c:pt>
                <c:pt idx="85">
                  <c:v>41897</c:v>
                </c:pt>
                <c:pt idx="86">
                  <c:v>41866</c:v>
                </c:pt>
                <c:pt idx="87">
                  <c:v>41835</c:v>
                </c:pt>
                <c:pt idx="88">
                  <c:v>41805</c:v>
                </c:pt>
                <c:pt idx="89">
                  <c:v>41774</c:v>
                </c:pt>
                <c:pt idx="90">
                  <c:v>41744</c:v>
                </c:pt>
                <c:pt idx="91">
                  <c:v>41713</c:v>
                </c:pt>
                <c:pt idx="92">
                  <c:v>41685</c:v>
                </c:pt>
                <c:pt idx="93">
                  <c:v>41654</c:v>
                </c:pt>
                <c:pt idx="94">
                  <c:v>41623</c:v>
                </c:pt>
                <c:pt idx="95">
                  <c:v>41593</c:v>
                </c:pt>
                <c:pt idx="96">
                  <c:v>41562</c:v>
                </c:pt>
                <c:pt idx="97">
                  <c:v>41532</c:v>
                </c:pt>
                <c:pt idx="98">
                  <c:v>41501</c:v>
                </c:pt>
                <c:pt idx="99">
                  <c:v>41470</c:v>
                </c:pt>
                <c:pt idx="100">
                  <c:v>41440</c:v>
                </c:pt>
                <c:pt idx="101">
                  <c:v>41409</c:v>
                </c:pt>
                <c:pt idx="102">
                  <c:v>41379</c:v>
                </c:pt>
                <c:pt idx="103">
                  <c:v>41348</c:v>
                </c:pt>
                <c:pt idx="104">
                  <c:v>41320</c:v>
                </c:pt>
                <c:pt idx="105">
                  <c:v>41289</c:v>
                </c:pt>
                <c:pt idx="106">
                  <c:v>41258</c:v>
                </c:pt>
                <c:pt idx="107">
                  <c:v>41228</c:v>
                </c:pt>
                <c:pt idx="108">
                  <c:v>41197</c:v>
                </c:pt>
                <c:pt idx="109">
                  <c:v>41167</c:v>
                </c:pt>
                <c:pt idx="110">
                  <c:v>41136</c:v>
                </c:pt>
                <c:pt idx="111">
                  <c:v>41105</c:v>
                </c:pt>
                <c:pt idx="112">
                  <c:v>41075</c:v>
                </c:pt>
                <c:pt idx="113">
                  <c:v>41044</c:v>
                </c:pt>
                <c:pt idx="114">
                  <c:v>41014</c:v>
                </c:pt>
                <c:pt idx="115">
                  <c:v>40983</c:v>
                </c:pt>
                <c:pt idx="116">
                  <c:v>40954</c:v>
                </c:pt>
                <c:pt idx="117">
                  <c:v>40923</c:v>
                </c:pt>
                <c:pt idx="118">
                  <c:v>40892</c:v>
                </c:pt>
                <c:pt idx="119">
                  <c:v>40862</c:v>
                </c:pt>
                <c:pt idx="120">
                  <c:v>40831</c:v>
                </c:pt>
                <c:pt idx="121">
                  <c:v>40801</c:v>
                </c:pt>
                <c:pt idx="122">
                  <c:v>40770</c:v>
                </c:pt>
                <c:pt idx="123">
                  <c:v>40739</c:v>
                </c:pt>
                <c:pt idx="124">
                  <c:v>40709</c:v>
                </c:pt>
                <c:pt idx="125">
                  <c:v>40678</c:v>
                </c:pt>
                <c:pt idx="126">
                  <c:v>40648</c:v>
                </c:pt>
                <c:pt idx="127">
                  <c:v>40617</c:v>
                </c:pt>
                <c:pt idx="128">
                  <c:v>40589</c:v>
                </c:pt>
                <c:pt idx="129">
                  <c:v>40558</c:v>
                </c:pt>
                <c:pt idx="130">
                  <c:v>40527</c:v>
                </c:pt>
                <c:pt idx="131">
                  <c:v>40497</c:v>
                </c:pt>
                <c:pt idx="132">
                  <c:v>40466</c:v>
                </c:pt>
                <c:pt idx="133">
                  <c:v>40436</c:v>
                </c:pt>
                <c:pt idx="134">
                  <c:v>40405</c:v>
                </c:pt>
                <c:pt idx="135">
                  <c:v>40374</c:v>
                </c:pt>
                <c:pt idx="136">
                  <c:v>40344</c:v>
                </c:pt>
                <c:pt idx="137">
                  <c:v>40313</c:v>
                </c:pt>
                <c:pt idx="138">
                  <c:v>40283</c:v>
                </c:pt>
                <c:pt idx="139">
                  <c:v>40252</c:v>
                </c:pt>
                <c:pt idx="140">
                  <c:v>40224</c:v>
                </c:pt>
                <c:pt idx="141">
                  <c:v>40193</c:v>
                </c:pt>
                <c:pt idx="142">
                  <c:v>40162</c:v>
                </c:pt>
                <c:pt idx="143">
                  <c:v>40132</c:v>
                </c:pt>
                <c:pt idx="144">
                  <c:v>40101</c:v>
                </c:pt>
                <c:pt idx="145">
                  <c:v>40071</c:v>
                </c:pt>
                <c:pt idx="146">
                  <c:v>40040</c:v>
                </c:pt>
                <c:pt idx="147">
                  <c:v>40009</c:v>
                </c:pt>
                <c:pt idx="148">
                  <c:v>39979</c:v>
                </c:pt>
                <c:pt idx="149">
                  <c:v>39948</c:v>
                </c:pt>
                <c:pt idx="150">
                  <c:v>39918</c:v>
                </c:pt>
                <c:pt idx="151">
                  <c:v>39887</c:v>
                </c:pt>
                <c:pt idx="152">
                  <c:v>39859</c:v>
                </c:pt>
                <c:pt idx="153">
                  <c:v>39828</c:v>
                </c:pt>
                <c:pt idx="154">
                  <c:v>39797</c:v>
                </c:pt>
                <c:pt idx="155">
                  <c:v>39767</c:v>
                </c:pt>
                <c:pt idx="156">
                  <c:v>39736</c:v>
                </c:pt>
                <c:pt idx="157">
                  <c:v>39706</c:v>
                </c:pt>
                <c:pt idx="158">
                  <c:v>39675</c:v>
                </c:pt>
                <c:pt idx="159">
                  <c:v>39644</c:v>
                </c:pt>
                <c:pt idx="160">
                  <c:v>39614</c:v>
                </c:pt>
                <c:pt idx="161">
                  <c:v>39583</c:v>
                </c:pt>
                <c:pt idx="162">
                  <c:v>39553</c:v>
                </c:pt>
                <c:pt idx="163">
                  <c:v>39522</c:v>
                </c:pt>
                <c:pt idx="164">
                  <c:v>39493</c:v>
                </c:pt>
                <c:pt idx="165">
                  <c:v>39462</c:v>
                </c:pt>
                <c:pt idx="166">
                  <c:v>39431</c:v>
                </c:pt>
                <c:pt idx="167">
                  <c:v>39401</c:v>
                </c:pt>
                <c:pt idx="168">
                  <c:v>39370</c:v>
                </c:pt>
                <c:pt idx="169">
                  <c:v>39340</c:v>
                </c:pt>
                <c:pt idx="170">
                  <c:v>39309</c:v>
                </c:pt>
                <c:pt idx="171">
                  <c:v>39278</c:v>
                </c:pt>
                <c:pt idx="172">
                  <c:v>39248</c:v>
                </c:pt>
                <c:pt idx="173">
                  <c:v>39217</c:v>
                </c:pt>
                <c:pt idx="174">
                  <c:v>39187</c:v>
                </c:pt>
                <c:pt idx="175">
                  <c:v>39156</c:v>
                </c:pt>
                <c:pt idx="176">
                  <c:v>39128</c:v>
                </c:pt>
                <c:pt idx="177">
                  <c:v>39097</c:v>
                </c:pt>
                <c:pt idx="178">
                  <c:v>39066</c:v>
                </c:pt>
                <c:pt idx="179">
                  <c:v>39036</c:v>
                </c:pt>
                <c:pt idx="180">
                  <c:v>39005</c:v>
                </c:pt>
                <c:pt idx="181">
                  <c:v>38975</c:v>
                </c:pt>
                <c:pt idx="182">
                  <c:v>38944</c:v>
                </c:pt>
                <c:pt idx="183">
                  <c:v>38913</c:v>
                </c:pt>
                <c:pt idx="184">
                  <c:v>38883</c:v>
                </c:pt>
                <c:pt idx="185">
                  <c:v>38852</c:v>
                </c:pt>
                <c:pt idx="186">
                  <c:v>38822</c:v>
                </c:pt>
                <c:pt idx="187">
                  <c:v>38791</c:v>
                </c:pt>
                <c:pt idx="188">
                  <c:v>38763</c:v>
                </c:pt>
                <c:pt idx="189">
                  <c:v>38732</c:v>
                </c:pt>
                <c:pt idx="190">
                  <c:v>38701</c:v>
                </c:pt>
                <c:pt idx="191">
                  <c:v>38671</c:v>
                </c:pt>
                <c:pt idx="192">
                  <c:v>38640</c:v>
                </c:pt>
                <c:pt idx="193">
                  <c:v>38610</c:v>
                </c:pt>
                <c:pt idx="194">
                  <c:v>38579</c:v>
                </c:pt>
                <c:pt idx="195">
                  <c:v>38548</c:v>
                </c:pt>
                <c:pt idx="196">
                  <c:v>38518</c:v>
                </c:pt>
                <c:pt idx="197">
                  <c:v>38487</c:v>
                </c:pt>
                <c:pt idx="198">
                  <c:v>38457</c:v>
                </c:pt>
                <c:pt idx="199">
                  <c:v>38426</c:v>
                </c:pt>
                <c:pt idx="200">
                  <c:v>38398</c:v>
                </c:pt>
                <c:pt idx="201">
                  <c:v>38367</c:v>
                </c:pt>
                <c:pt idx="202">
                  <c:v>38336</c:v>
                </c:pt>
              </c:numCache>
            </c:numRef>
          </c:cat>
          <c:val>
            <c:numRef>
              <c:f>Arbeitsmarktdaten_AMS!$AN$12:$AN$214</c:f>
              <c:numCache>
                <c:formatCode>0.0</c:formatCode>
                <c:ptCount val="203"/>
                <c:pt idx="0">
                  <c:v>#N/A</c:v>
                </c:pt>
                <c:pt idx="1">
                  <c:v>2.7754144238693748</c:v>
                </c:pt>
                <c:pt idx="2">
                  <c:v>2.8998613720078708</c:v>
                </c:pt>
                <c:pt idx="3">
                  <c:v>2.985712604058449</c:v>
                </c:pt>
                <c:pt idx="4">
                  <c:v>3.2422150024394845</c:v>
                </c:pt>
                <c:pt idx="5">
                  <c:v>3.8410006556976657</c:v>
                </c:pt>
                <c:pt idx="6">
                  <c:v>4.676277971773624</c:v>
                </c:pt>
                <c:pt idx="7">
                  <c:v>4.9794302775715291</c:v>
                </c:pt>
                <c:pt idx="8">
                  <c:v>5.4155767208004626</c:v>
                </c:pt>
                <c:pt idx="9">
                  <c:v>5.8160914945774271</c:v>
                </c:pt>
                <c:pt idx="10">
                  <c:v>6.8443695828981079</c:v>
                </c:pt>
                <c:pt idx="11">
                  <c:v>6.126524171774407</c:v>
                </c:pt>
                <c:pt idx="12">
                  <c:v>5.7715809449645281</c:v>
                </c:pt>
                <c:pt idx="13">
                  <c:v>6.0643160200704997</c:v>
                </c:pt>
                <c:pt idx="14">
                  <c:v>6.5058871918010741</c:v>
                </c:pt>
                <c:pt idx="15">
                  <c:v>7.0393911676468912</c:v>
                </c:pt>
                <c:pt idx="16">
                  <c:v>8.0279974885742451</c:v>
                </c:pt>
                <c:pt idx="17">
                  <c:v>9.7149055452182864</c:v>
                </c:pt>
                <c:pt idx="18">
                  <c:v>10.347230923105581</c:v>
                </c:pt>
                <c:pt idx="19">
                  <c:v>8.0285186624264675</c:v>
                </c:pt>
                <c:pt idx="20">
                  <c:v>3.5924041861088245</c:v>
                </c:pt>
                <c:pt idx="21">
                  <c:v>3.5960724471901071</c:v>
                </c:pt>
                <c:pt idx="22">
                  <c:v>4.0273261566044418</c:v>
                </c:pt>
                <c:pt idx="23">
                  <c:v>3.8465812427312822</c:v>
                </c:pt>
                <c:pt idx="24">
                  <c:v>3.941453294839647</c:v>
                </c:pt>
                <c:pt idx="25">
                  <c:v>3.8701584710530006</c:v>
                </c:pt>
                <c:pt idx="26">
                  <c:v>3.9321394412023842</c:v>
                </c:pt>
                <c:pt idx="27">
                  <c:v>3.8857881459570724</c:v>
                </c:pt>
                <c:pt idx="28">
                  <c:v>3.8349784945224417</c:v>
                </c:pt>
                <c:pt idx="29">
                  <c:v>4.0113192280557648</c:v>
                </c:pt>
                <c:pt idx="30">
                  <c:v>3.9350309885494772</c:v>
                </c:pt>
                <c:pt idx="31">
                  <c:v>3.8477940573458009</c:v>
                </c:pt>
                <c:pt idx="32">
                  <c:v>3.8486559388359556</c:v>
                </c:pt>
                <c:pt idx="33">
                  <c:v>3.877199311343571</c:v>
                </c:pt>
                <c:pt idx="34">
                  <c:v>4.100815063562929</c:v>
                </c:pt>
                <c:pt idx="35">
                  <c:v>4.1279578870248717</c:v>
                </c:pt>
                <c:pt idx="36">
                  <c:v>4.1856671725696062</c:v>
                </c:pt>
                <c:pt idx="37">
                  <c:v>4.1274252009300607</c:v>
                </c:pt>
                <c:pt idx="38">
                  <c:v>4.1895182706304697</c:v>
                </c:pt>
                <c:pt idx="39">
                  <c:v>4.2634325707758345</c:v>
                </c:pt>
                <c:pt idx="40">
                  <c:v>4.2492700073666523</c:v>
                </c:pt>
                <c:pt idx="41">
                  <c:v>4.4771888131208417</c:v>
                </c:pt>
                <c:pt idx="42">
                  <c:v>4.6443795556788094</c:v>
                </c:pt>
                <c:pt idx="43">
                  <c:v>4.727951474826309</c:v>
                </c:pt>
                <c:pt idx="44">
                  <c:v>4.7087240497933944</c:v>
                </c:pt>
                <c:pt idx="45">
                  <c:v>4.6497927084893282</c:v>
                </c:pt>
                <c:pt idx="46">
                  <c:v>5.206285518712094</c:v>
                </c:pt>
                <c:pt idx="47">
                  <c:v>5.4511034386158546</c:v>
                </c:pt>
                <c:pt idx="48">
                  <c:v>5.5646578483738782</c:v>
                </c:pt>
                <c:pt idx="49">
                  <c:v>5.6917102873554386</c:v>
                </c:pt>
                <c:pt idx="50">
                  <c:v>5.8027617050058407</c:v>
                </c:pt>
                <c:pt idx="51">
                  <c:v>5.6249045078593305</c:v>
                </c:pt>
                <c:pt idx="52">
                  <c:v>6.0874740114063943</c:v>
                </c:pt>
                <c:pt idx="53">
                  <c:v>6.2846663061269012</c:v>
                </c:pt>
                <c:pt idx="54">
                  <c:v>6.4967493579637532</c:v>
                </c:pt>
                <c:pt idx="55">
                  <c:v>6.443418196478917</c:v>
                </c:pt>
                <c:pt idx="56">
                  <c:v>6.5856707546567321</c:v>
                </c:pt>
                <c:pt idx="57">
                  <c:v>6.7750786982958999</c:v>
                </c:pt>
                <c:pt idx="58">
                  <c:v>7.3789362671154715</c:v>
                </c:pt>
                <c:pt idx="59">
                  <c:v>8.1431209951206061</c:v>
                </c:pt>
                <c:pt idx="60">
                  <c:v>8.6796737143317664</c:v>
                </c:pt>
                <c:pt idx="61">
                  <c:v>8.9150059747267232</c:v>
                </c:pt>
                <c:pt idx="62">
                  <c:v>8.8343705582379446</c:v>
                </c:pt>
                <c:pt idx="63">
                  <c:v>8.7332296001719261</c:v>
                </c:pt>
                <c:pt idx="64">
                  <c:v>8.848593902607055</c:v>
                </c:pt>
                <c:pt idx="65">
                  <c:v>9.5000175882584763</c:v>
                </c:pt>
                <c:pt idx="66">
                  <c:v>9.5998907728671057</c:v>
                </c:pt>
                <c:pt idx="67">
                  <c:v>9.6822437883996066</c:v>
                </c:pt>
                <c:pt idx="68">
                  <c:v>9.1845497566889076</c:v>
                </c:pt>
                <c:pt idx="69">
                  <c:v>9.21814362344589</c:v>
                </c:pt>
                <c:pt idx="70">
                  <c:v>10.68416916976591</c:v>
                </c:pt>
                <c:pt idx="71">
                  <c:v>10.561358516548172</c:v>
                </c:pt>
                <c:pt idx="72">
                  <c:v>11.063643245286341</c:v>
                </c:pt>
                <c:pt idx="73">
                  <c:v>11.184656186514983</c:v>
                </c:pt>
                <c:pt idx="74">
                  <c:v>11.783941098629251</c:v>
                </c:pt>
                <c:pt idx="75">
                  <c:v>12.253729861224079</c:v>
                </c:pt>
                <c:pt idx="76">
                  <c:v>13.098526296345399</c:v>
                </c:pt>
                <c:pt idx="77">
                  <c:v>13.232435515320308</c:v>
                </c:pt>
                <c:pt idx="78">
                  <c:v>13.560017316709954</c:v>
                </c:pt>
                <c:pt idx="79">
                  <c:v>13.264505295375045</c:v>
                </c:pt>
                <c:pt idx="80">
                  <c:v>12.727194630049249</c:v>
                </c:pt>
                <c:pt idx="81">
                  <c:v>12.815927432493693</c:v>
                </c:pt>
                <c:pt idx="82">
                  <c:v>13.403216535787314</c:v>
                </c:pt>
                <c:pt idx="83">
                  <c:v>12.251169170119077</c:v>
                </c:pt>
                <c:pt idx="84">
                  <c:v>12.448336239384851</c:v>
                </c:pt>
                <c:pt idx="85">
                  <c:v>12.011356935741688</c:v>
                </c:pt>
                <c:pt idx="86">
                  <c:v>12.173075617890309</c:v>
                </c:pt>
                <c:pt idx="87">
                  <c:v>12.748117143865208</c:v>
                </c:pt>
                <c:pt idx="88">
                  <c:v>11.892709616701044</c:v>
                </c:pt>
                <c:pt idx="89">
                  <c:v>11.495595502079206</c:v>
                </c:pt>
                <c:pt idx="90">
                  <c:v>11.88732507032444</c:v>
                </c:pt>
                <c:pt idx="91">
                  <c:v>11.357950001791924</c:v>
                </c:pt>
                <c:pt idx="92">
                  <c:v>11.791772082700025</c:v>
                </c:pt>
                <c:pt idx="93">
                  <c:v>12.327836614859571</c:v>
                </c:pt>
                <c:pt idx="94">
                  <c:v>11.72953182425981</c:v>
                </c:pt>
                <c:pt idx="95">
                  <c:v>11.140532064799508</c:v>
                </c:pt>
                <c:pt idx="96">
                  <c:v>11.419601869349245</c:v>
                </c:pt>
                <c:pt idx="97">
                  <c:v>10.678509586303068</c:v>
                </c:pt>
                <c:pt idx="98">
                  <c:v>10.917580876871153</c:v>
                </c:pt>
                <c:pt idx="99">
                  <c:v>10.820766729609312</c:v>
                </c:pt>
                <c:pt idx="100">
                  <c:v>10.628185294746494</c:v>
                </c:pt>
                <c:pt idx="101">
                  <c:v>10.472892788953034</c:v>
                </c:pt>
                <c:pt idx="102">
                  <c:v>10.365575929491428</c:v>
                </c:pt>
                <c:pt idx="103">
                  <c:v>10.577314812103427</c:v>
                </c:pt>
                <c:pt idx="104">
                  <c:v>10.679543649456919</c:v>
                </c:pt>
                <c:pt idx="105">
                  <c:v>10.768329856579326</c:v>
                </c:pt>
                <c:pt idx="106">
                  <c:v>9.883320221783551</c:v>
                </c:pt>
                <c:pt idx="107">
                  <c:v>9.6803008547284968</c:v>
                </c:pt>
                <c:pt idx="108">
                  <c:v>9.1385701445196794</c:v>
                </c:pt>
                <c:pt idx="109">
                  <c:v>8.4981140117595579</c:v>
                </c:pt>
                <c:pt idx="110">
                  <c:v>8.540209450553764</c:v>
                </c:pt>
                <c:pt idx="111">
                  <c:v>8.4997097272139968</c:v>
                </c:pt>
                <c:pt idx="112">
                  <c:v>8.3170892469768756</c:v>
                </c:pt>
                <c:pt idx="113">
                  <c:v>8.4592718796770008</c:v>
                </c:pt>
                <c:pt idx="114">
                  <c:v>8.4009227296248916</c:v>
                </c:pt>
                <c:pt idx="115">
                  <c:v>8.4831965166346457</c:v>
                </c:pt>
                <c:pt idx="116">
                  <c:v>9.1487608125655946</c:v>
                </c:pt>
                <c:pt idx="117">
                  <c:v>9.1589206819925089</c:v>
                </c:pt>
                <c:pt idx="118">
                  <c:v>8.5975136876686022</c:v>
                </c:pt>
                <c:pt idx="119">
                  <c:v>8.537184476206809</c:v>
                </c:pt>
                <c:pt idx="120">
                  <c:v>7.9283550464515447</c:v>
                </c:pt>
                <c:pt idx="121">
                  <c:v>7.8183230282021432</c:v>
                </c:pt>
                <c:pt idx="122">
                  <c:v>7.8654786065939764</c:v>
                </c:pt>
                <c:pt idx="123">
                  <c:v>6.9968896010241117</c:v>
                </c:pt>
                <c:pt idx="124">
                  <c:v>6.9372729952863601</c:v>
                </c:pt>
                <c:pt idx="125">
                  <c:v>7.222657166350511</c:v>
                </c:pt>
                <c:pt idx="126">
                  <c:v>6.992220234638471</c:v>
                </c:pt>
                <c:pt idx="127">
                  <c:v>7.4872611997169098</c:v>
                </c:pt>
                <c:pt idx="128">
                  <c:v>7.4819500780579133</c:v>
                </c:pt>
                <c:pt idx="129">
                  <c:v>7.6886067489219636</c:v>
                </c:pt>
                <c:pt idx="130">
                  <c:v>7.8717512051953387</c:v>
                </c:pt>
                <c:pt idx="131">
                  <c:v>7.4934291816015346</c:v>
                </c:pt>
                <c:pt idx="132">
                  <c:v>7.1581754990617634</c:v>
                </c:pt>
                <c:pt idx="133">
                  <c:v>7.1589634176992725</c:v>
                </c:pt>
                <c:pt idx="134">
                  <c:v>7.3058496194395088</c:v>
                </c:pt>
                <c:pt idx="135">
                  <c:v>7.1815967948609538</c:v>
                </c:pt>
                <c:pt idx="136">
                  <c:v>7.6624145604654386</c:v>
                </c:pt>
                <c:pt idx="137">
                  <c:v>8.1092073036632115</c:v>
                </c:pt>
                <c:pt idx="138">
                  <c:v>8.5675916487142878</c:v>
                </c:pt>
                <c:pt idx="139">
                  <c:v>9.1619747159979532</c:v>
                </c:pt>
                <c:pt idx="140">
                  <c:v>9.6822856266694455</c:v>
                </c:pt>
                <c:pt idx="141">
                  <c:v>10.059760521692814</c:v>
                </c:pt>
                <c:pt idx="142">
                  <c:v>9.95221113078893</c:v>
                </c:pt>
                <c:pt idx="143">
                  <c:v>9.1808142072137233</c:v>
                </c:pt>
                <c:pt idx="144">
                  <c:v>9.2305610492857042</c:v>
                </c:pt>
                <c:pt idx="145">
                  <c:v>9.4541579313889645</c:v>
                </c:pt>
                <c:pt idx="146">
                  <c:v>9.2098912723126851</c:v>
                </c:pt>
                <c:pt idx="147">
                  <c:v>10.234323073142127</c:v>
                </c:pt>
                <c:pt idx="148">
                  <c:v>10.43674858519879</c:v>
                </c:pt>
                <c:pt idx="149">
                  <c:v>10.198467488656652</c:v>
                </c:pt>
                <c:pt idx="150">
                  <c:v>10.035584782798146</c:v>
                </c:pt>
                <c:pt idx="151">
                  <c:v>9.5532680477953438</c:v>
                </c:pt>
                <c:pt idx="152">
                  <c:v>9.3217473937343573</c:v>
                </c:pt>
                <c:pt idx="153">
                  <c:v>8.167663523670198</c:v>
                </c:pt>
                <c:pt idx="154">
                  <c:v>7.1295962341788952</c:v>
                </c:pt>
                <c:pt idx="155">
                  <c:v>7.0054657234260818</c:v>
                </c:pt>
                <c:pt idx="156">
                  <c:v>6.0489096139600829</c:v>
                </c:pt>
                <c:pt idx="157">
                  <c:v>5.5735293331751112</c:v>
                </c:pt>
                <c:pt idx="158">
                  <c:v>5.3730446116093393</c:v>
                </c:pt>
                <c:pt idx="159">
                  <c:v>5.397206840960056</c:v>
                </c:pt>
                <c:pt idx="160">
                  <c:v>4.8507015209911248</c:v>
                </c:pt>
                <c:pt idx="161">
                  <c:v>5.1511380451885938</c:v>
                </c:pt>
                <c:pt idx="162">
                  <c:v>5.3324608572941123</c:v>
                </c:pt>
                <c:pt idx="163">
                  <c:v>5.143397882956684</c:v>
                </c:pt>
                <c:pt idx="164">
                  <c:v>5.3437455485045273</c:v>
                </c:pt>
                <c:pt idx="165">
                  <c:v>5.7326846729576255</c:v>
                </c:pt>
                <c:pt idx="166">
                  <c:v>6.2886928924083918</c:v>
                </c:pt>
                <c:pt idx="167">
                  <c:v>6.1425094219865173</c:v>
                </c:pt>
                <c:pt idx="168">
                  <c:v>5.6446636952035032</c:v>
                </c:pt>
                <c:pt idx="169">
                  <c:v>5.2288239285291276</c:v>
                </c:pt>
                <c:pt idx="170">
                  <c:v>5.2219774243790074</c:v>
                </c:pt>
                <c:pt idx="171">
                  <c:v>5.1196663534178279</c:v>
                </c:pt>
                <c:pt idx="172">
                  <c:v>5.2441668728015554</c:v>
                </c:pt>
                <c:pt idx="173">
                  <c:v>5.5846165548564173</c:v>
                </c:pt>
                <c:pt idx="174">
                  <c:v>5.6193902037095205</c:v>
                </c:pt>
                <c:pt idx="175">
                  <c:v>6.1010779495531597</c:v>
                </c:pt>
                <c:pt idx="176">
                  <c:v>6.596586226249924</c:v>
                </c:pt>
                <c:pt idx="177">
                  <c:v>7.0214165953407495</c:v>
                </c:pt>
                <c:pt idx="178">
                  <c:v>6.5920496717570725</c:v>
                </c:pt>
                <c:pt idx="179">
                  <c:v>6.5348783839752844</c:v>
                </c:pt>
                <c:pt idx="180">
                  <c:v>6.1345322034228218</c:v>
                </c:pt>
                <c:pt idx="181">
                  <c:v>6.0476615702548049</c:v>
                </c:pt>
                <c:pt idx="182">
                  <c:v>6.2638601679596491</c:v>
                </c:pt>
                <c:pt idx="183">
                  <c:v>6.2612348014656183</c:v>
                </c:pt>
                <c:pt idx="184">
                  <c:v>6.6903732248685577</c:v>
                </c:pt>
                <c:pt idx="185">
                  <c:v>7.2506202502171995</c:v>
                </c:pt>
                <c:pt idx="186">
                  <c:v>7.6052006044982692</c:v>
                </c:pt>
                <c:pt idx="187">
                  <c:v>9.1758587928111321</c:v>
                </c:pt>
                <c:pt idx="188">
                  <c:v>9.6868211342948989</c:v>
                </c:pt>
                <c:pt idx="189">
                  <c:v>9.9488514786430287</c:v>
                </c:pt>
                <c:pt idx="190">
                  <c:v>10.707240958820936</c:v>
                </c:pt>
                <c:pt idx="191">
                  <c:v>9.7141550595744359</c:v>
                </c:pt>
                <c:pt idx="192">
                  <c:v>9.2448184931129909</c:v>
                </c:pt>
                <c:pt idx="193">
                  <c:v>9.2339031125347084</c:v>
                </c:pt>
                <c:pt idx="194">
                  <c:v>8.7935005702645999</c:v>
                </c:pt>
                <c:pt idx="195">
                  <c:v>8.909513961827205</c:v>
                </c:pt>
                <c:pt idx="196">
                  <c:v>9.0664059681804652</c:v>
                </c:pt>
                <c:pt idx="197">
                  <c:v>9.0143338773459334</c:v>
                </c:pt>
                <c:pt idx="198">
                  <c:v>9.081321192156441</c:v>
                </c:pt>
                <c:pt idx="199">
                  <c:v>10.406158431947148</c:v>
                </c:pt>
                <c:pt idx="200">
                  <c:v>10.67090089088388</c:v>
                </c:pt>
                <c:pt idx="201">
                  <c:v>10.684265925825475</c:v>
                </c:pt>
                <c:pt idx="202">
                  <c:v>12.018787131864695</c:v>
                </c:pt>
              </c:numCache>
            </c:numRef>
          </c:val>
          <c:smooth val="0"/>
          <c:extLst>
            <c:ext xmlns:c16="http://schemas.microsoft.com/office/drawing/2014/chart" uri="{C3380CC4-5D6E-409C-BE32-E72D297353CC}">
              <c16:uniqueId val="{00000000-1FDC-4923-8611-C08833313EB1}"/>
            </c:ext>
          </c:extLst>
        </c:ser>
        <c:dLbls>
          <c:showLegendKey val="0"/>
          <c:showVal val="0"/>
          <c:showCatName val="0"/>
          <c:showSerName val="0"/>
          <c:showPercent val="0"/>
          <c:showBubbleSize val="0"/>
        </c:dLbls>
        <c:smooth val="0"/>
        <c:axId val="705472768"/>
        <c:axId val="705486848"/>
      </c:lineChart>
      <c:dateAx>
        <c:axId val="705472768"/>
        <c:scaling>
          <c:orientation val="minMax"/>
        </c:scaling>
        <c:delete val="0"/>
        <c:axPos val="b"/>
        <c:numFmt formatCode="mmm/\ yy" sourceLinked="0"/>
        <c:majorTickMark val="none"/>
        <c:minorTickMark val="none"/>
        <c:tickLblPos val="nextTo"/>
        <c:spPr>
          <a:ln>
            <a:solidFill>
              <a:srgbClr val="D9D9D9"/>
            </a:solidFill>
          </a:ln>
        </c:spPr>
        <c:txPr>
          <a:bodyPr rot="0" vert="horz"/>
          <a:lstStyle/>
          <a:p>
            <a:pPr>
              <a:defRPr/>
            </a:pPr>
            <a:endParaRPr lang="de-DE"/>
          </a:p>
        </c:txPr>
        <c:crossAx val="705486848"/>
        <c:crosses val="autoZero"/>
        <c:auto val="1"/>
        <c:lblOffset val="100"/>
        <c:baseTimeUnit val="months"/>
        <c:majorUnit val="36"/>
        <c:majorTimeUnit val="months"/>
      </c:dateAx>
      <c:valAx>
        <c:axId val="705486848"/>
        <c:scaling>
          <c:orientation val="minMax"/>
          <c:max val="14"/>
          <c:min val="2"/>
        </c:scaling>
        <c:delete val="0"/>
        <c:axPos val="l"/>
        <c:majorGridlines>
          <c:spPr>
            <a:ln w="9525">
              <a:solidFill>
                <a:srgbClr val="D9D9D9"/>
              </a:solidFill>
            </a:ln>
          </c:spPr>
        </c:majorGridlines>
        <c:numFmt formatCode="0" sourceLinked="0"/>
        <c:majorTickMark val="none"/>
        <c:minorTickMark val="none"/>
        <c:tickLblPos val="nextTo"/>
        <c:spPr>
          <a:ln>
            <a:noFill/>
          </a:ln>
        </c:spPr>
        <c:txPr>
          <a:bodyPr rot="0" vert="horz"/>
          <a:lstStyle/>
          <a:p>
            <a:pPr>
              <a:defRPr/>
            </a:pPr>
            <a:endParaRPr lang="de-DE"/>
          </a:p>
        </c:txPr>
        <c:crossAx val="705472768"/>
        <c:crosses val="autoZero"/>
        <c:crossBetween val="between"/>
      </c:valAx>
    </c:plotArea>
    <c:legend>
      <c:legendPos val="b"/>
      <c:overlay val="0"/>
    </c:legend>
    <c:plotVisOnly val="1"/>
    <c:dispBlanksAs val="gap"/>
    <c:showDLblsOverMax val="0"/>
  </c:chart>
  <c:spPr>
    <a:ln>
      <a:noFill/>
    </a:ln>
  </c:spPr>
  <c:txPr>
    <a:bodyPr/>
    <a:lstStyle/>
    <a:p>
      <a:pPr>
        <a:defRPr sz="1400" b="0" i="0" u="none" strike="noStrike" baseline="0">
          <a:solidFill>
            <a:schemeClr val="tx1">
              <a:lumMod val="65000"/>
              <a:lumOff val="35000"/>
            </a:schemeClr>
          </a:solidFill>
          <a:latin typeface="Amalia" panose="020B0504020203020204" pitchFamily="34" charset="0"/>
          <a:ea typeface="Calibri"/>
          <a:cs typeface="Calibri"/>
        </a:defRPr>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Amalia" panose="020B0504020203020204" pitchFamily="34" charset="0"/>
                <a:ea typeface="+mn-ea"/>
                <a:cs typeface="+mn-cs"/>
              </a:defRPr>
            </a:pPr>
            <a:r>
              <a:rPr lang="de-DE" sz="1600"/>
              <a:t>Eurozone: Produzentenpreise (% p.a.)</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lineChart>
        <c:grouping val="standard"/>
        <c:varyColors val="0"/>
        <c:ser>
          <c:idx val="0"/>
          <c:order val="0"/>
          <c:tx>
            <c:strRef>
              <c:f>PPI_1980!$H$8</c:f>
              <c:strCache>
                <c:ptCount val="1"/>
                <c:pt idx="0">
                  <c:v>Gesamt</c:v>
                </c:pt>
              </c:strCache>
            </c:strRef>
          </c:tx>
          <c:spPr>
            <a:ln w="19050" cap="rnd">
              <a:solidFill>
                <a:schemeClr val="accent1"/>
              </a:solidFill>
              <a:round/>
            </a:ln>
            <a:effectLst/>
          </c:spPr>
          <c:marker>
            <c:symbol val="none"/>
          </c:marker>
          <c:cat>
            <c:numRef>
              <c:f>PPI_1980!$C$35:$C$514</c:f>
              <c:numCache>
                <c:formatCode>m/d/yyyy</c:formatCode>
                <c:ptCount val="480"/>
                <c:pt idx="0">
                  <c:v>29966</c:v>
                </c:pt>
                <c:pt idx="1">
                  <c:v>29997</c:v>
                </c:pt>
                <c:pt idx="2">
                  <c:v>30025</c:v>
                </c:pt>
                <c:pt idx="3">
                  <c:v>30056</c:v>
                </c:pt>
                <c:pt idx="4">
                  <c:v>30086</c:v>
                </c:pt>
                <c:pt idx="5">
                  <c:v>30117</c:v>
                </c:pt>
                <c:pt idx="6">
                  <c:v>30147</c:v>
                </c:pt>
                <c:pt idx="7">
                  <c:v>30178</c:v>
                </c:pt>
                <c:pt idx="8">
                  <c:v>30209</c:v>
                </c:pt>
                <c:pt idx="9">
                  <c:v>30239</c:v>
                </c:pt>
                <c:pt idx="10">
                  <c:v>30270</c:v>
                </c:pt>
                <c:pt idx="11">
                  <c:v>30300</c:v>
                </c:pt>
                <c:pt idx="12">
                  <c:v>30331</c:v>
                </c:pt>
                <c:pt idx="13">
                  <c:v>30362</c:v>
                </c:pt>
                <c:pt idx="14">
                  <c:v>30390</c:v>
                </c:pt>
                <c:pt idx="15">
                  <c:v>30421</c:v>
                </c:pt>
                <c:pt idx="16">
                  <c:v>30451</c:v>
                </c:pt>
                <c:pt idx="17">
                  <c:v>30482</c:v>
                </c:pt>
                <c:pt idx="18">
                  <c:v>30512</c:v>
                </c:pt>
                <c:pt idx="19">
                  <c:v>30543</c:v>
                </c:pt>
                <c:pt idx="20">
                  <c:v>30574</c:v>
                </c:pt>
                <c:pt idx="21">
                  <c:v>30604</c:v>
                </c:pt>
                <c:pt idx="22">
                  <c:v>30635</c:v>
                </c:pt>
                <c:pt idx="23">
                  <c:v>30665</c:v>
                </c:pt>
                <c:pt idx="24">
                  <c:v>30696</c:v>
                </c:pt>
                <c:pt idx="25">
                  <c:v>30727</c:v>
                </c:pt>
                <c:pt idx="26">
                  <c:v>30756</c:v>
                </c:pt>
                <c:pt idx="27">
                  <c:v>30787</c:v>
                </c:pt>
                <c:pt idx="28">
                  <c:v>30817</c:v>
                </c:pt>
                <c:pt idx="29">
                  <c:v>30848</c:v>
                </c:pt>
                <c:pt idx="30">
                  <c:v>30878</c:v>
                </c:pt>
                <c:pt idx="31">
                  <c:v>30909</c:v>
                </c:pt>
                <c:pt idx="32">
                  <c:v>30940</c:v>
                </c:pt>
                <c:pt idx="33">
                  <c:v>30970</c:v>
                </c:pt>
                <c:pt idx="34">
                  <c:v>31001</c:v>
                </c:pt>
                <c:pt idx="35">
                  <c:v>31031</c:v>
                </c:pt>
                <c:pt idx="36">
                  <c:v>31062</c:v>
                </c:pt>
                <c:pt idx="37">
                  <c:v>31093</c:v>
                </c:pt>
                <c:pt idx="38">
                  <c:v>31121</c:v>
                </c:pt>
                <c:pt idx="39">
                  <c:v>31152</c:v>
                </c:pt>
                <c:pt idx="40">
                  <c:v>31182</c:v>
                </c:pt>
                <c:pt idx="41">
                  <c:v>31213</c:v>
                </c:pt>
                <c:pt idx="42">
                  <c:v>31243</c:v>
                </c:pt>
                <c:pt idx="43">
                  <c:v>31274</c:v>
                </c:pt>
                <c:pt idx="44">
                  <c:v>31305</c:v>
                </c:pt>
                <c:pt idx="45">
                  <c:v>31335</c:v>
                </c:pt>
                <c:pt idx="46">
                  <c:v>31366</c:v>
                </c:pt>
                <c:pt idx="47">
                  <c:v>31396</c:v>
                </c:pt>
                <c:pt idx="48">
                  <c:v>31427</c:v>
                </c:pt>
                <c:pt idx="49">
                  <c:v>31458</c:v>
                </c:pt>
                <c:pt idx="50">
                  <c:v>31486</c:v>
                </c:pt>
                <c:pt idx="51">
                  <c:v>31517</c:v>
                </c:pt>
                <c:pt idx="52">
                  <c:v>31547</c:v>
                </c:pt>
                <c:pt idx="53">
                  <c:v>31578</c:v>
                </c:pt>
                <c:pt idx="54">
                  <c:v>31608</c:v>
                </c:pt>
                <c:pt idx="55">
                  <c:v>31639</c:v>
                </c:pt>
                <c:pt idx="56">
                  <c:v>31670</c:v>
                </c:pt>
                <c:pt idx="57">
                  <c:v>31700</c:v>
                </c:pt>
                <c:pt idx="58">
                  <c:v>31731</c:v>
                </c:pt>
                <c:pt idx="59">
                  <c:v>31761</c:v>
                </c:pt>
                <c:pt idx="60">
                  <c:v>31792</c:v>
                </c:pt>
                <c:pt idx="61">
                  <c:v>31823</c:v>
                </c:pt>
                <c:pt idx="62">
                  <c:v>31851</c:v>
                </c:pt>
                <c:pt idx="63">
                  <c:v>31882</c:v>
                </c:pt>
                <c:pt idx="64">
                  <c:v>31912</c:v>
                </c:pt>
                <c:pt idx="65">
                  <c:v>31943</c:v>
                </c:pt>
                <c:pt idx="66">
                  <c:v>31973</c:v>
                </c:pt>
                <c:pt idx="67">
                  <c:v>32004</c:v>
                </c:pt>
                <c:pt idx="68">
                  <c:v>32035</c:v>
                </c:pt>
                <c:pt idx="69">
                  <c:v>32065</c:v>
                </c:pt>
                <c:pt idx="70">
                  <c:v>32096</c:v>
                </c:pt>
                <c:pt idx="71">
                  <c:v>32126</c:v>
                </c:pt>
                <c:pt idx="72">
                  <c:v>32157</c:v>
                </c:pt>
                <c:pt idx="73">
                  <c:v>32188</c:v>
                </c:pt>
                <c:pt idx="74">
                  <c:v>32217</c:v>
                </c:pt>
                <c:pt idx="75">
                  <c:v>32248</c:v>
                </c:pt>
                <c:pt idx="76">
                  <c:v>32278</c:v>
                </c:pt>
                <c:pt idx="77">
                  <c:v>32309</c:v>
                </c:pt>
                <c:pt idx="78">
                  <c:v>32339</c:v>
                </c:pt>
                <c:pt idx="79">
                  <c:v>32370</c:v>
                </c:pt>
                <c:pt idx="80">
                  <c:v>32401</c:v>
                </c:pt>
                <c:pt idx="81">
                  <c:v>32431</c:v>
                </c:pt>
                <c:pt idx="82">
                  <c:v>32462</c:v>
                </c:pt>
                <c:pt idx="83">
                  <c:v>32492</c:v>
                </c:pt>
                <c:pt idx="84">
                  <c:v>32523</c:v>
                </c:pt>
                <c:pt idx="85">
                  <c:v>32554</c:v>
                </c:pt>
                <c:pt idx="86">
                  <c:v>32582</c:v>
                </c:pt>
                <c:pt idx="87">
                  <c:v>32613</c:v>
                </c:pt>
                <c:pt idx="88">
                  <c:v>32643</c:v>
                </c:pt>
                <c:pt idx="89">
                  <c:v>32674</c:v>
                </c:pt>
                <c:pt idx="90">
                  <c:v>32704</c:v>
                </c:pt>
                <c:pt idx="91">
                  <c:v>32735</c:v>
                </c:pt>
                <c:pt idx="92">
                  <c:v>32766</c:v>
                </c:pt>
                <c:pt idx="93">
                  <c:v>32796</c:v>
                </c:pt>
                <c:pt idx="94">
                  <c:v>32827</c:v>
                </c:pt>
                <c:pt idx="95">
                  <c:v>32857</c:v>
                </c:pt>
                <c:pt idx="96">
                  <c:v>32888</c:v>
                </c:pt>
                <c:pt idx="97">
                  <c:v>32919</c:v>
                </c:pt>
                <c:pt idx="98">
                  <c:v>32947</c:v>
                </c:pt>
                <c:pt idx="99">
                  <c:v>32978</c:v>
                </c:pt>
                <c:pt idx="100">
                  <c:v>33008</c:v>
                </c:pt>
                <c:pt idx="101">
                  <c:v>33039</c:v>
                </c:pt>
                <c:pt idx="102">
                  <c:v>33069</c:v>
                </c:pt>
                <c:pt idx="103">
                  <c:v>33100</c:v>
                </c:pt>
                <c:pt idx="104">
                  <c:v>33131</c:v>
                </c:pt>
                <c:pt idx="105">
                  <c:v>33161</c:v>
                </c:pt>
                <c:pt idx="106">
                  <c:v>33192</c:v>
                </c:pt>
                <c:pt idx="107">
                  <c:v>33222</c:v>
                </c:pt>
                <c:pt idx="108">
                  <c:v>33253</c:v>
                </c:pt>
                <c:pt idx="109">
                  <c:v>33284</c:v>
                </c:pt>
                <c:pt idx="110">
                  <c:v>33312</c:v>
                </c:pt>
                <c:pt idx="111">
                  <c:v>33343</c:v>
                </c:pt>
                <c:pt idx="112">
                  <c:v>33373</c:v>
                </c:pt>
                <c:pt idx="113">
                  <c:v>33404</c:v>
                </c:pt>
                <c:pt idx="114">
                  <c:v>33434</c:v>
                </c:pt>
                <c:pt idx="115">
                  <c:v>33465</c:v>
                </c:pt>
                <c:pt idx="116">
                  <c:v>33496</c:v>
                </c:pt>
                <c:pt idx="117">
                  <c:v>33526</c:v>
                </c:pt>
                <c:pt idx="118">
                  <c:v>33557</c:v>
                </c:pt>
                <c:pt idx="119">
                  <c:v>33587</c:v>
                </c:pt>
                <c:pt idx="120">
                  <c:v>33618</c:v>
                </c:pt>
                <c:pt idx="121">
                  <c:v>33649</c:v>
                </c:pt>
                <c:pt idx="122">
                  <c:v>33678</c:v>
                </c:pt>
                <c:pt idx="123">
                  <c:v>33709</c:v>
                </c:pt>
                <c:pt idx="124">
                  <c:v>33739</c:v>
                </c:pt>
                <c:pt idx="125">
                  <c:v>33770</c:v>
                </c:pt>
                <c:pt idx="126">
                  <c:v>33800</c:v>
                </c:pt>
                <c:pt idx="127">
                  <c:v>33831</c:v>
                </c:pt>
                <c:pt idx="128">
                  <c:v>33862</c:v>
                </c:pt>
                <c:pt idx="129">
                  <c:v>33892</c:v>
                </c:pt>
                <c:pt idx="130">
                  <c:v>33923</c:v>
                </c:pt>
                <c:pt idx="131">
                  <c:v>33953</c:v>
                </c:pt>
                <c:pt idx="132">
                  <c:v>33984</c:v>
                </c:pt>
                <c:pt idx="133">
                  <c:v>34015</c:v>
                </c:pt>
                <c:pt idx="134">
                  <c:v>34043</c:v>
                </c:pt>
                <c:pt idx="135">
                  <c:v>34074</c:v>
                </c:pt>
                <c:pt idx="136">
                  <c:v>34104</c:v>
                </c:pt>
                <c:pt idx="137">
                  <c:v>34135</c:v>
                </c:pt>
                <c:pt idx="138">
                  <c:v>34165</c:v>
                </c:pt>
                <c:pt idx="139">
                  <c:v>34196</c:v>
                </c:pt>
                <c:pt idx="140">
                  <c:v>34227</c:v>
                </c:pt>
                <c:pt idx="141">
                  <c:v>34257</c:v>
                </c:pt>
                <c:pt idx="142">
                  <c:v>34288</c:v>
                </c:pt>
                <c:pt idx="143">
                  <c:v>34318</c:v>
                </c:pt>
                <c:pt idx="144">
                  <c:v>34349</c:v>
                </c:pt>
                <c:pt idx="145">
                  <c:v>34380</c:v>
                </c:pt>
                <c:pt idx="146">
                  <c:v>34408</c:v>
                </c:pt>
                <c:pt idx="147">
                  <c:v>34439</c:v>
                </c:pt>
                <c:pt idx="148">
                  <c:v>34469</c:v>
                </c:pt>
                <c:pt idx="149">
                  <c:v>34500</c:v>
                </c:pt>
                <c:pt idx="150">
                  <c:v>34530</c:v>
                </c:pt>
                <c:pt idx="151">
                  <c:v>34561</c:v>
                </c:pt>
                <c:pt idx="152">
                  <c:v>34592</c:v>
                </c:pt>
                <c:pt idx="153">
                  <c:v>34622</c:v>
                </c:pt>
                <c:pt idx="154">
                  <c:v>34653</c:v>
                </c:pt>
                <c:pt idx="155">
                  <c:v>34683</c:v>
                </c:pt>
                <c:pt idx="156">
                  <c:v>34714</c:v>
                </c:pt>
                <c:pt idx="157">
                  <c:v>34745</c:v>
                </c:pt>
                <c:pt idx="158">
                  <c:v>34773</c:v>
                </c:pt>
                <c:pt idx="159">
                  <c:v>34804</c:v>
                </c:pt>
                <c:pt idx="160">
                  <c:v>34834</c:v>
                </c:pt>
                <c:pt idx="161">
                  <c:v>34865</c:v>
                </c:pt>
                <c:pt idx="162">
                  <c:v>34895</c:v>
                </c:pt>
                <c:pt idx="163">
                  <c:v>34926</c:v>
                </c:pt>
                <c:pt idx="164">
                  <c:v>34957</c:v>
                </c:pt>
                <c:pt idx="165">
                  <c:v>34987</c:v>
                </c:pt>
                <c:pt idx="166">
                  <c:v>35018</c:v>
                </c:pt>
                <c:pt idx="167">
                  <c:v>35048</c:v>
                </c:pt>
                <c:pt idx="168">
                  <c:v>35079</c:v>
                </c:pt>
                <c:pt idx="169">
                  <c:v>35110</c:v>
                </c:pt>
                <c:pt idx="170">
                  <c:v>35139</c:v>
                </c:pt>
                <c:pt idx="171">
                  <c:v>35170</c:v>
                </c:pt>
                <c:pt idx="172">
                  <c:v>35200</c:v>
                </c:pt>
                <c:pt idx="173">
                  <c:v>35231</c:v>
                </c:pt>
                <c:pt idx="174">
                  <c:v>35261</c:v>
                </c:pt>
                <c:pt idx="175">
                  <c:v>35292</c:v>
                </c:pt>
                <c:pt idx="176">
                  <c:v>35323</c:v>
                </c:pt>
                <c:pt idx="177">
                  <c:v>35353</c:v>
                </c:pt>
                <c:pt idx="178">
                  <c:v>35384</c:v>
                </c:pt>
                <c:pt idx="179">
                  <c:v>35414</c:v>
                </c:pt>
                <c:pt idx="180">
                  <c:v>35445</c:v>
                </c:pt>
                <c:pt idx="181">
                  <c:v>35476</c:v>
                </c:pt>
                <c:pt idx="182">
                  <c:v>35504</c:v>
                </c:pt>
                <c:pt idx="183">
                  <c:v>35535</c:v>
                </c:pt>
                <c:pt idx="184">
                  <c:v>35565</c:v>
                </c:pt>
                <c:pt idx="185">
                  <c:v>35596</c:v>
                </c:pt>
                <c:pt idx="186">
                  <c:v>35626</c:v>
                </c:pt>
                <c:pt idx="187">
                  <c:v>35657</c:v>
                </c:pt>
                <c:pt idx="188">
                  <c:v>35688</c:v>
                </c:pt>
                <c:pt idx="189">
                  <c:v>35718</c:v>
                </c:pt>
                <c:pt idx="190">
                  <c:v>35749</c:v>
                </c:pt>
                <c:pt idx="191">
                  <c:v>35779</c:v>
                </c:pt>
                <c:pt idx="192">
                  <c:v>35810</c:v>
                </c:pt>
                <c:pt idx="193">
                  <c:v>35841</c:v>
                </c:pt>
                <c:pt idx="194">
                  <c:v>35869</c:v>
                </c:pt>
                <c:pt idx="195">
                  <c:v>35900</c:v>
                </c:pt>
                <c:pt idx="196">
                  <c:v>35930</c:v>
                </c:pt>
                <c:pt idx="197">
                  <c:v>35961</c:v>
                </c:pt>
                <c:pt idx="198">
                  <c:v>35991</c:v>
                </c:pt>
                <c:pt idx="199">
                  <c:v>36022</c:v>
                </c:pt>
                <c:pt idx="200">
                  <c:v>36053</c:v>
                </c:pt>
                <c:pt idx="201">
                  <c:v>36083</c:v>
                </c:pt>
                <c:pt idx="202">
                  <c:v>36114</c:v>
                </c:pt>
                <c:pt idx="203">
                  <c:v>36144</c:v>
                </c:pt>
                <c:pt idx="204">
                  <c:v>36175</c:v>
                </c:pt>
                <c:pt idx="205">
                  <c:v>36206</c:v>
                </c:pt>
                <c:pt idx="206">
                  <c:v>36234</c:v>
                </c:pt>
                <c:pt idx="207">
                  <c:v>36265</c:v>
                </c:pt>
                <c:pt idx="208">
                  <c:v>36295</c:v>
                </c:pt>
                <c:pt idx="209">
                  <c:v>36326</c:v>
                </c:pt>
                <c:pt idx="210">
                  <c:v>36356</c:v>
                </c:pt>
                <c:pt idx="211">
                  <c:v>36387</c:v>
                </c:pt>
                <c:pt idx="212">
                  <c:v>36418</c:v>
                </c:pt>
                <c:pt idx="213">
                  <c:v>36448</c:v>
                </c:pt>
                <c:pt idx="214">
                  <c:v>36479</c:v>
                </c:pt>
                <c:pt idx="215">
                  <c:v>36509</c:v>
                </c:pt>
                <c:pt idx="216">
                  <c:v>36540</c:v>
                </c:pt>
                <c:pt idx="217">
                  <c:v>36571</c:v>
                </c:pt>
                <c:pt idx="218">
                  <c:v>36600</c:v>
                </c:pt>
                <c:pt idx="219">
                  <c:v>36631</c:v>
                </c:pt>
                <c:pt idx="220">
                  <c:v>36661</c:v>
                </c:pt>
                <c:pt idx="221">
                  <c:v>36692</c:v>
                </c:pt>
                <c:pt idx="222">
                  <c:v>36722</c:v>
                </c:pt>
                <c:pt idx="223">
                  <c:v>36753</c:v>
                </c:pt>
                <c:pt idx="224">
                  <c:v>36784</c:v>
                </c:pt>
                <c:pt idx="225">
                  <c:v>36814</c:v>
                </c:pt>
                <c:pt idx="226">
                  <c:v>36845</c:v>
                </c:pt>
                <c:pt idx="227">
                  <c:v>36875</c:v>
                </c:pt>
                <c:pt idx="228">
                  <c:v>36906</c:v>
                </c:pt>
                <c:pt idx="229">
                  <c:v>36937</c:v>
                </c:pt>
                <c:pt idx="230">
                  <c:v>36965</c:v>
                </c:pt>
                <c:pt idx="231">
                  <c:v>36996</c:v>
                </c:pt>
                <c:pt idx="232">
                  <c:v>37026</c:v>
                </c:pt>
                <c:pt idx="233">
                  <c:v>37057</c:v>
                </c:pt>
                <c:pt idx="234">
                  <c:v>37087</c:v>
                </c:pt>
                <c:pt idx="235">
                  <c:v>37118</c:v>
                </c:pt>
                <c:pt idx="236">
                  <c:v>37149</c:v>
                </c:pt>
                <c:pt idx="237">
                  <c:v>37179</c:v>
                </c:pt>
                <c:pt idx="238">
                  <c:v>37210</c:v>
                </c:pt>
                <c:pt idx="239">
                  <c:v>37240</c:v>
                </c:pt>
                <c:pt idx="240">
                  <c:v>37271</c:v>
                </c:pt>
                <c:pt idx="241">
                  <c:v>37302</c:v>
                </c:pt>
                <c:pt idx="242">
                  <c:v>37330</c:v>
                </c:pt>
                <c:pt idx="243">
                  <c:v>37361</c:v>
                </c:pt>
                <c:pt idx="244">
                  <c:v>37391</c:v>
                </c:pt>
                <c:pt idx="245">
                  <c:v>37422</c:v>
                </c:pt>
                <c:pt idx="246">
                  <c:v>37452</c:v>
                </c:pt>
                <c:pt idx="247">
                  <c:v>37483</c:v>
                </c:pt>
                <c:pt idx="248">
                  <c:v>37514</c:v>
                </c:pt>
                <c:pt idx="249">
                  <c:v>37544</c:v>
                </c:pt>
                <c:pt idx="250">
                  <c:v>37575</c:v>
                </c:pt>
                <c:pt idx="251">
                  <c:v>37605</c:v>
                </c:pt>
                <c:pt idx="252">
                  <c:v>37636</c:v>
                </c:pt>
                <c:pt idx="253">
                  <c:v>37667</c:v>
                </c:pt>
                <c:pt idx="254">
                  <c:v>37695</c:v>
                </c:pt>
                <c:pt idx="255">
                  <c:v>37726</c:v>
                </c:pt>
                <c:pt idx="256">
                  <c:v>37756</c:v>
                </c:pt>
                <c:pt idx="257">
                  <c:v>37787</c:v>
                </c:pt>
                <c:pt idx="258">
                  <c:v>37817</c:v>
                </c:pt>
                <c:pt idx="259">
                  <c:v>37848</c:v>
                </c:pt>
                <c:pt idx="260">
                  <c:v>37879</c:v>
                </c:pt>
                <c:pt idx="261">
                  <c:v>37909</c:v>
                </c:pt>
                <c:pt idx="262">
                  <c:v>37940</c:v>
                </c:pt>
                <c:pt idx="263">
                  <c:v>37970</c:v>
                </c:pt>
                <c:pt idx="264">
                  <c:v>38001</c:v>
                </c:pt>
                <c:pt idx="265">
                  <c:v>38032</c:v>
                </c:pt>
                <c:pt idx="266">
                  <c:v>38061</c:v>
                </c:pt>
                <c:pt idx="267">
                  <c:v>38092</c:v>
                </c:pt>
                <c:pt idx="268">
                  <c:v>38122</c:v>
                </c:pt>
                <c:pt idx="269">
                  <c:v>38153</c:v>
                </c:pt>
                <c:pt idx="270">
                  <c:v>38183</c:v>
                </c:pt>
                <c:pt idx="271">
                  <c:v>38214</c:v>
                </c:pt>
                <c:pt idx="272">
                  <c:v>38245</c:v>
                </c:pt>
                <c:pt idx="273">
                  <c:v>38275</c:v>
                </c:pt>
                <c:pt idx="274">
                  <c:v>38306</c:v>
                </c:pt>
                <c:pt idx="275">
                  <c:v>38336</c:v>
                </c:pt>
                <c:pt idx="276">
                  <c:v>38367</c:v>
                </c:pt>
                <c:pt idx="277">
                  <c:v>38398</c:v>
                </c:pt>
                <c:pt idx="278">
                  <c:v>38426</c:v>
                </c:pt>
                <c:pt idx="279">
                  <c:v>38457</c:v>
                </c:pt>
                <c:pt idx="280">
                  <c:v>38487</c:v>
                </c:pt>
                <c:pt idx="281">
                  <c:v>38518</c:v>
                </c:pt>
                <c:pt idx="282">
                  <c:v>38548</c:v>
                </c:pt>
                <c:pt idx="283">
                  <c:v>38579</c:v>
                </c:pt>
                <c:pt idx="284">
                  <c:v>38610</c:v>
                </c:pt>
                <c:pt idx="285">
                  <c:v>38640</c:v>
                </c:pt>
                <c:pt idx="286">
                  <c:v>38671</c:v>
                </c:pt>
                <c:pt idx="287">
                  <c:v>38701</c:v>
                </c:pt>
                <c:pt idx="288">
                  <c:v>38732</c:v>
                </c:pt>
                <c:pt idx="289">
                  <c:v>38763</c:v>
                </c:pt>
                <c:pt idx="290">
                  <c:v>38791</c:v>
                </c:pt>
                <c:pt idx="291">
                  <c:v>38822</c:v>
                </c:pt>
                <c:pt idx="292">
                  <c:v>38852</c:v>
                </c:pt>
                <c:pt idx="293">
                  <c:v>38883</c:v>
                </c:pt>
                <c:pt idx="294">
                  <c:v>38913</c:v>
                </c:pt>
                <c:pt idx="295">
                  <c:v>38944</c:v>
                </c:pt>
                <c:pt idx="296">
                  <c:v>38975</c:v>
                </c:pt>
                <c:pt idx="297">
                  <c:v>39005</c:v>
                </c:pt>
                <c:pt idx="298">
                  <c:v>39036</c:v>
                </c:pt>
                <c:pt idx="299">
                  <c:v>39066</c:v>
                </c:pt>
                <c:pt idx="300">
                  <c:v>39097</c:v>
                </c:pt>
                <c:pt idx="301">
                  <c:v>39128</c:v>
                </c:pt>
                <c:pt idx="302">
                  <c:v>39156</c:v>
                </c:pt>
                <c:pt idx="303">
                  <c:v>39187</c:v>
                </c:pt>
                <c:pt idx="304">
                  <c:v>39217</c:v>
                </c:pt>
                <c:pt idx="305">
                  <c:v>39248</c:v>
                </c:pt>
                <c:pt idx="306">
                  <c:v>39278</c:v>
                </c:pt>
                <c:pt idx="307">
                  <c:v>39309</c:v>
                </c:pt>
                <c:pt idx="308">
                  <c:v>39340</c:v>
                </c:pt>
                <c:pt idx="309">
                  <c:v>39370</c:v>
                </c:pt>
                <c:pt idx="310">
                  <c:v>39401</c:v>
                </c:pt>
                <c:pt idx="311">
                  <c:v>39431</c:v>
                </c:pt>
                <c:pt idx="312">
                  <c:v>39462</c:v>
                </c:pt>
                <c:pt idx="313">
                  <c:v>39493</c:v>
                </c:pt>
                <c:pt idx="314">
                  <c:v>39522</c:v>
                </c:pt>
                <c:pt idx="315">
                  <c:v>39553</c:v>
                </c:pt>
                <c:pt idx="316">
                  <c:v>39583</c:v>
                </c:pt>
                <c:pt idx="317">
                  <c:v>39614</c:v>
                </c:pt>
                <c:pt idx="318">
                  <c:v>39644</c:v>
                </c:pt>
                <c:pt idx="319">
                  <c:v>39675</c:v>
                </c:pt>
                <c:pt idx="320">
                  <c:v>39706</c:v>
                </c:pt>
                <c:pt idx="321">
                  <c:v>39736</c:v>
                </c:pt>
                <c:pt idx="322">
                  <c:v>39767</c:v>
                </c:pt>
                <c:pt idx="323">
                  <c:v>39797</c:v>
                </c:pt>
                <c:pt idx="324">
                  <c:v>39828</c:v>
                </c:pt>
                <c:pt idx="325">
                  <c:v>39859</c:v>
                </c:pt>
                <c:pt idx="326">
                  <c:v>39887</c:v>
                </c:pt>
                <c:pt idx="327">
                  <c:v>39918</c:v>
                </c:pt>
                <c:pt idx="328">
                  <c:v>39948</c:v>
                </c:pt>
                <c:pt idx="329">
                  <c:v>39979</c:v>
                </c:pt>
                <c:pt idx="330">
                  <c:v>40009</c:v>
                </c:pt>
                <c:pt idx="331">
                  <c:v>40040</c:v>
                </c:pt>
                <c:pt idx="332">
                  <c:v>40071</c:v>
                </c:pt>
                <c:pt idx="333">
                  <c:v>40101</c:v>
                </c:pt>
                <c:pt idx="334">
                  <c:v>40132</c:v>
                </c:pt>
                <c:pt idx="335">
                  <c:v>40162</c:v>
                </c:pt>
                <c:pt idx="336">
                  <c:v>40193</c:v>
                </c:pt>
                <c:pt idx="337">
                  <c:v>40224</c:v>
                </c:pt>
                <c:pt idx="338">
                  <c:v>40252</c:v>
                </c:pt>
                <c:pt idx="339">
                  <c:v>40283</c:v>
                </c:pt>
                <c:pt idx="340">
                  <c:v>40313</c:v>
                </c:pt>
                <c:pt idx="341">
                  <c:v>40344</c:v>
                </c:pt>
                <c:pt idx="342">
                  <c:v>40374</c:v>
                </c:pt>
                <c:pt idx="343">
                  <c:v>40405</c:v>
                </c:pt>
                <c:pt idx="344">
                  <c:v>40436</c:v>
                </c:pt>
                <c:pt idx="345">
                  <c:v>40466</c:v>
                </c:pt>
                <c:pt idx="346">
                  <c:v>40497</c:v>
                </c:pt>
                <c:pt idx="347">
                  <c:v>40527</c:v>
                </c:pt>
                <c:pt idx="348">
                  <c:v>40558</c:v>
                </c:pt>
                <c:pt idx="349">
                  <c:v>40589</c:v>
                </c:pt>
                <c:pt idx="350">
                  <c:v>40617</c:v>
                </c:pt>
                <c:pt idx="351">
                  <c:v>40648</c:v>
                </c:pt>
                <c:pt idx="352">
                  <c:v>40678</c:v>
                </c:pt>
                <c:pt idx="353">
                  <c:v>40709</c:v>
                </c:pt>
                <c:pt idx="354">
                  <c:v>40739</c:v>
                </c:pt>
                <c:pt idx="355">
                  <c:v>40770</c:v>
                </c:pt>
                <c:pt idx="356">
                  <c:v>40801</c:v>
                </c:pt>
                <c:pt idx="357">
                  <c:v>40831</c:v>
                </c:pt>
                <c:pt idx="358">
                  <c:v>40862</c:v>
                </c:pt>
                <c:pt idx="359">
                  <c:v>40892</c:v>
                </c:pt>
                <c:pt idx="360">
                  <c:v>40923</c:v>
                </c:pt>
                <c:pt idx="361">
                  <c:v>40954</c:v>
                </c:pt>
                <c:pt idx="362">
                  <c:v>40983</c:v>
                </c:pt>
                <c:pt idx="363">
                  <c:v>41014</c:v>
                </c:pt>
                <c:pt idx="364">
                  <c:v>41044</c:v>
                </c:pt>
                <c:pt idx="365">
                  <c:v>41075</c:v>
                </c:pt>
                <c:pt idx="366">
                  <c:v>41105</c:v>
                </c:pt>
                <c:pt idx="367">
                  <c:v>41136</c:v>
                </c:pt>
                <c:pt idx="368">
                  <c:v>41167</c:v>
                </c:pt>
                <c:pt idx="369">
                  <c:v>41197</c:v>
                </c:pt>
                <c:pt idx="370">
                  <c:v>41228</c:v>
                </c:pt>
                <c:pt idx="371">
                  <c:v>41258</c:v>
                </c:pt>
                <c:pt idx="372">
                  <c:v>41289</c:v>
                </c:pt>
                <c:pt idx="373">
                  <c:v>41320</c:v>
                </c:pt>
                <c:pt idx="374">
                  <c:v>41348</c:v>
                </c:pt>
                <c:pt idx="375">
                  <c:v>41379</c:v>
                </c:pt>
                <c:pt idx="376">
                  <c:v>41409</c:v>
                </c:pt>
                <c:pt idx="377">
                  <c:v>41440</c:v>
                </c:pt>
                <c:pt idx="378">
                  <c:v>41470</c:v>
                </c:pt>
                <c:pt idx="379">
                  <c:v>41501</c:v>
                </c:pt>
                <c:pt idx="380">
                  <c:v>41532</c:v>
                </c:pt>
                <c:pt idx="381">
                  <c:v>41562</c:v>
                </c:pt>
                <c:pt idx="382">
                  <c:v>41593</c:v>
                </c:pt>
                <c:pt idx="383">
                  <c:v>41623</c:v>
                </c:pt>
                <c:pt idx="384">
                  <c:v>41654</c:v>
                </c:pt>
                <c:pt idx="385">
                  <c:v>41685</c:v>
                </c:pt>
                <c:pt idx="386">
                  <c:v>41713</c:v>
                </c:pt>
                <c:pt idx="387">
                  <c:v>41744</c:v>
                </c:pt>
                <c:pt idx="388">
                  <c:v>41774</c:v>
                </c:pt>
                <c:pt idx="389">
                  <c:v>41805</c:v>
                </c:pt>
                <c:pt idx="390">
                  <c:v>41835</c:v>
                </c:pt>
                <c:pt idx="391">
                  <c:v>41866</c:v>
                </c:pt>
                <c:pt idx="392">
                  <c:v>41897</c:v>
                </c:pt>
                <c:pt idx="393">
                  <c:v>41927</c:v>
                </c:pt>
                <c:pt idx="394">
                  <c:v>41958</c:v>
                </c:pt>
                <c:pt idx="395">
                  <c:v>41988</c:v>
                </c:pt>
                <c:pt idx="396">
                  <c:v>42019</c:v>
                </c:pt>
                <c:pt idx="397">
                  <c:v>42050</c:v>
                </c:pt>
                <c:pt idx="398">
                  <c:v>42078</c:v>
                </c:pt>
                <c:pt idx="399">
                  <c:v>42109</c:v>
                </c:pt>
                <c:pt idx="400">
                  <c:v>42139</c:v>
                </c:pt>
                <c:pt idx="401">
                  <c:v>42170</c:v>
                </c:pt>
                <c:pt idx="402">
                  <c:v>42200</c:v>
                </c:pt>
                <c:pt idx="403">
                  <c:v>42231</c:v>
                </c:pt>
                <c:pt idx="404">
                  <c:v>42262</c:v>
                </c:pt>
                <c:pt idx="405">
                  <c:v>42292</c:v>
                </c:pt>
                <c:pt idx="406">
                  <c:v>42323</c:v>
                </c:pt>
                <c:pt idx="407">
                  <c:v>42353</c:v>
                </c:pt>
                <c:pt idx="408">
                  <c:v>42384</c:v>
                </c:pt>
                <c:pt idx="409">
                  <c:v>42415</c:v>
                </c:pt>
                <c:pt idx="410">
                  <c:v>42444</c:v>
                </c:pt>
                <c:pt idx="411">
                  <c:v>42475</c:v>
                </c:pt>
                <c:pt idx="412">
                  <c:v>42505</c:v>
                </c:pt>
                <c:pt idx="413">
                  <c:v>42536</c:v>
                </c:pt>
                <c:pt idx="414">
                  <c:v>42566</c:v>
                </c:pt>
                <c:pt idx="415">
                  <c:v>42597</c:v>
                </c:pt>
                <c:pt idx="416">
                  <c:v>42628</c:v>
                </c:pt>
                <c:pt idx="417">
                  <c:v>42658</c:v>
                </c:pt>
                <c:pt idx="418">
                  <c:v>42689</c:v>
                </c:pt>
                <c:pt idx="419">
                  <c:v>42719</c:v>
                </c:pt>
                <c:pt idx="420">
                  <c:v>42750</c:v>
                </c:pt>
                <c:pt idx="421">
                  <c:v>42781</c:v>
                </c:pt>
                <c:pt idx="422">
                  <c:v>42809</c:v>
                </c:pt>
                <c:pt idx="423">
                  <c:v>42840</c:v>
                </c:pt>
                <c:pt idx="424">
                  <c:v>42870</c:v>
                </c:pt>
                <c:pt idx="425">
                  <c:v>42901</c:v>
                </c:pt>
                <c:pt idx="426">
                  <c:v>42931</c:v>
                </c:pt>
                <c:pt idx="427">
                  <c:v>42962</c:v>
                </c:pt>
                <c:pt idx="428">
                  <c:v>42993</c:v>
                </c:pt>
                <c:pt idx="429">
                  <c:v>43023</c:v>
                </c:pt>
                <c:pt idx="430">
                  <c:v>43054</c:v>
                </c:pt>
                <c:pt idx="431">
                  <c:v>43084</c:v>
                </c:pt>
                <c:pt idx="432">
                  <c:v>43115</c:v>
                </c:pt>
                <c:pt idx="433">
                  <c:v>43146</c:v>
                </c:pt>
                <c:pt idx="434">
                  <c:v>43174</c:v>
                </c:pt>
                <c:pt idx="435">
                  <c:v>43205</c:v>
                </c:pt>
                <c:pt idx="436">
                  <c:v>43235</c:v>
                </c:pt>
                <c:pt idx="437">
                  <c:v>43266</c:v>
                </c:pt>
                <c:pt idx="438">
                  <c:v>43296</c:v>
                </c:pt>
                <c:pt idx="439">
                  <c:v>43327</c:v>
                </c:pt>
                <c:pt idx="440">
                  <c:v>43358</c:v>
                </c:pt>
                <c:pt idx="441">
                  <c:v>43388</c:v>
                </c:pt>
                <c:pt idx="442">
                  <c:v>43419</c:v>
                </c:pt>
                <c:pt idx="443">
                  <c:v>43449</c:v>
                </c:pt>
                <c:pt idx="444">
                  <c:v>43480</c:v>
                </c:pt>
                <c:pt idx="445">
                  <c:v>43511</c:v>
                </c:pt>
                <c:pt idx="446">
                  <c:v>43539</c:v>
                </c:pt>
                <c:pt idx="447">
                  <c:v>43570</c:v>
                </c:pt>
                <c:pt idx="448">
                  <c:v>43600</c:v>
                </c:pt>
                <c:pt idx="449">
                  <c:v>43631</c:v>
                </c:pt>
                <c:pt idx="450">
                  <c:v>43661</c:v>
                </c:pt>
                <c:pt idx="451">
                  <c:v>43692</c:v>
                </c:pt>
                <c:pt idx="452">
                  <c:v>43723</c:v>
                </c:pt>
                <c:pt idx="453">
                  <c:v>43753</c:v>
                </c:pt>
                <c:pt idx="454">
                  <c:v>43784</c:v>
                </c:pt>
                <c:pt idx="455">
                  <c:v>43814</c:v>
                </c:pt>
                <c:pt idx="456">
                  <c:v>43845</c:v>
                </c:pt>
                <c:pt idx="457">
                  <c:v>43876</c:v>
                </c:pt>
                <c:pt idx="458">
                  <c:v>43905</c:v>
                </c:pt>
                <c:pt idx="459">
                  <c:v>43936</c:v>
                </c:pt>
                <c:pt idx="460">
                  <c:v>43966</c:v>
                </c:pt>
                <c:pt idx="461">
                  <c:v>43997</c:v>
                </c:pt>
                <c:pt idx="462">
                  <c:v>44027</c:v>
                </c:pt>
                <c:pt idx="463">
                  <c:v>44058</c:v>
                </c:pt>
                <c:pt idx="464">
                  <c:v>44089</c:v>
                </c:pt>
                <c:pt idx="465">
                  <c:v>44119</c:v>
                </c:pt>
                <c:pt idx="466">
                  <c:v>44150</c:v>
                </c:pt>
                <c:pt idx="467">
                  <c:v>44180</c:v>
                </c:pt>
                <c:pt idx="468">
                  <c:v>44211</c:v>
                </c:pt>
                <c:pt idx="469">
                  <c:v>44242</c:v>
                </c:pt>
                <c:pt idx="470">
                  <c:v>44270</c:v>
                </c:pt>
                <c:pt idx="471">
                  <c:v>44301</c:v>
                </c:pt>
                <c:pt idx="472">
                  <c:v>44331</c:v>
                </c:pt>
                <c:pt idx="473">
                  <c:v>44362</c:v>
                </c:pt>
                <c:pt idx="474">
                  <c:v>44392</c:v>
                </c:pt>
                <c:pt idx="475">
                  <c:v>44423</c:v>
                </c:pt>
                <c:pt idx="476">
                  <c:v>44454</c:v>
                </c:pt>
                <c:pt idx="477">
                  <c:v>44484</c:v>
                </c:pt>
                <c:pt idx="478">
                  <c:v>44515</c:v>
                </c:pt>
                <c:pt idx="479">
                  <c:v>44545</c:v>
                </c:pt>
              </c:numCache>
            </c:numRef>
          </c:cat>
          <c:val>
            <c:numRef>
              <c:f>PPI_1980!$H$35:$H$514</c:f>
              <c:numCache>
                <c:formatCode>0.00</c:formatCode>
                <c:ptCount val="480"/>
                <c:pt idx="0">
                  <c:v>10.753564154786144</c:v>
                </c:pt>
                <c:pt idx="1">
                  <c:v>9.8830173457039159</c:v>
                </c:pt>
                <c:pt idx="2">
                  <c:v>9.5857514508705286</c:v>
                </c:pt>
                <c:pt idx="3">
                  <c:v>8.4942845880961571</c:v>
                </c:pt>
                <c:pt idx="4">
                  <c:v>8.4672677381419028</c:v>
                </c:pt>
                <c:pt idx="5">
                  <c:v>8.2085197432406165</c:v>
                </c:pt>
                <c:pt idx="6">
                  <c:v>7.5606002308580278</c:v>
                </c:pt>
                <c:pt idx="7">
                  <c:v>7.1414932213099247</c:v>
                </c:pt>
                <c:pt idx="8">
                  <c:v>7.1156773211567659</c:v>
                </c:pt>
                <c:pt idx="9">
                  <c:v>6.8945976577257317</c:v>
                </c:pt>
                <c:pt idx="10">
                  <c:v>6.4813075333458592</c:v>
                </c:pt>
                <c:pt idx="11">
                  <c:v>6.4891222805701476</c:v>
                </c:pt>
                <c:pt idx="12">
                  <c:v>5.2960647296800278</c:v>
                </c:pt>
                <c:pt idx="13">
                  <c:v>5.2679882525697552</c:v>
                </c:pt>
                <c:pt idx="14">
                  <c:v>4.7297297297297369</c:v>
                </c:pt>
                <c:pt idx="15">
                  <c:v>4.5231607629427906</c:v>
                </c:pt>
                <c:pt idx="16">
                  <c:v>4.3368268883267058</c:v>
                </c:pt>
                <c:pt idx="17">
                  <c:v>4.1344598238360453</c:v>
                </c:pt>
                <c:pt idx="18">
                  <c:v>3.9527812555893327</c:v>
                </c:pt>
                <c:pt idx="19">
                  <c:v>4.2594902869363738</c:v>
                </c:pt>
                <c:pt idx="20">
                  <c:v>4.4227353463587971</c:v>
                </c:pt>
                <c:pt idx="21">
                  <c:v>4.4000706838664083</c:v>
                </c:pt>
                <c:pt idx="22">
                  <c:v>4.5695130557515951</c:v>
                </c:pt>
                <c:pt idx="23">
                  <c:v>4.719971821063762</c:v>
                </c:pt>
                <c:pt idx="24">
                  <c:v>5.1868669228082309</c:v>
                </c:pt>
                <c:pt idx="25">
                  <c:v>5.5274629468177849</c:v>
                </c:pt>
                <c:pt idx="26">
                  <c:v>5.8587619877942476</c:v>
                </c:pt>
                <c:pt idx="27">
                  <c:v>6.1696211331247808</c:v>
                </c:pt>
                <c:pt idx="28">
                  <c:v>5.9750606165569708</c:v>
                </c:pt>
                <c:pt idx="29">
                  <c:v>5.8001035732780926</c:v>
                </c:pt>
                <c:pt idx="30">
                  <c:v>5.7811424638678499</c:v>
                </c:pt>
                <c:pt idx="31">
                  <c:v>5.2478632478632381</c:v>
                </c:pt>
                <c:pt idx="32">
                  <c:v>5.2219765266201756</c:v>
                </c:pt>
                <c:pt idx="33">
                  <c:v>5.3486797562626975</c:v>
                </c:pt>
                <c:pt idx="34">
                  <c:v>5.3484056014847292</c:v>
                </c:pt>
                <c:pt idx="35">
                  <c:v>5.0117726202488999</c:v>
                </c:pt>
                <c:pt idx="36">
                  <c:v>4.9310974597376767</c:v>
                </c:pt>
                <c:pt idx="37">
                  <c:v>5.072703238598808</c:v>
                </c:pt>
                <c:pt idx="38">
                  <c:v>5.0568275407675944</c:v>
                </c:pt>
                <c:pt idx="39">
                  <c:v>4.878048780487787</c:v>
                </c:pt>
                <c:pt idx="40">
                  <c:v>4.8537342703055986</c:v>
                </c:pt>
                <c:pt idx="41">
                  <c:v>4.5358133463860195</c:v>
                </c:pt>
                <c:pt idx="42">
                  <c:v>4.2127521145087776</c:v>
                </c:pt>
                <c:pt idx="43">
                  <c:v>3.8980022738346554</c:v>
                </c:pt>
                <c:pt idx="44">
                  <c:v>3.5725832525056456</c:v>
                </c:pt>
                <c:pt idx="45">
                  <c:v>2.94023136246786</c:v>
                </c:pt>
                <c:pt idx="46">
                  <c:v>2.4503523382447101</c:v>
                </c:pt>
                <c:pt idx="47">
                  <c:v>2.4503523382447101</c:v>
                </c:pt>
                <c:pt idx="48">
                  <c:v>1.2183544303797422</c:v>
                </c:pt>
                <c:pt idx="49">
                  <c:v>0</c:v>
                </c:pt>
                <c:pt idx="50">
                  <c:v>-0.90937597993101527</c:v>
                </c:pt>
                <c:pt idx="51">
                  <c:v>-1.9509911034805594</c:v>
                </c:pt>
                <c:pt idx="52">
                  <c:v>-2.3846633416458762</c:v>
                </c:pt>
                <c:pt idx="53">
                  <c:v>-2.4036210394880464</c:v>
                </c:pt>
                <c:pt idx="54">
                  <c:v>-2.9967223349461447</c:v>
                </c:pt>
                <c:pt idx="55">
                  <c:v>-3.001406909488824</c:v>
                </c:pt>
                <c:pt idx="56">
                  <c:v>-3.1528016232245881</c:v>
                </c:pt>
                <c:pt idx="57">
                  <c:v>-4.04245356641173</c:v>
                </c:pt>
                <c:pt idx="58">
                  <c:v>-4.1894638111614864</c:v>
                </c:pt>
                <c:pt idx="59">
                  <c:v>-4.1894638111614864</c:v>
                </c:pt>
                <c:pt idx="60">
                  <c:v>-4.0487728622791934</c:v>
                </c:pt>
                <c:pt idx="61">
                  <c:v>-3.6169208995125102</c:v>
                </c:pt>
                <c:pt idx="62">
                  <c:v>-3.0221518987341822</c:v>
                </c:pt>
                <c:pt idx="63">
                  <c:v>-2.2922636103151817</c:v>
                </c:pt>
                <c:pt idx="64">
                  <c:v>-1.8361807440523847</c:v>
                </c:pt>
                <c:pt idx="65">
                  <c:v>-1.679193986886296</c:v>
                </c:pt>
                <c:pt idx="66">
                  <c:v>-0.77232502011262971</c:v>
                </c:pt>
                <c:pt idx="67">
                  <c:v>-0.30620467365027881</c:v>
                </c:pt>
                <c:pt idx="68">
                  <c:v>-0.46736502820305947</c:v>
                </c:pt>
                <c:pt idx="69">
                  <c:v>0.78074170461939207</c:v>
                </c:pt>
                <c:pt idx="70">
                  <c:v>1.0931636482297336</c:v>
                </c:pt>
                <c:pt idx="71">
                  <c:v>1.0931636482297336</c:v>
                </c:pt>
                <c:pt idx="72">
                  <c:v>0.94493320299771089</c:v>
                </c:pt>
                <c:pt idx="73">
                  <c:v>1.2400065263501459</c:v>
                </c:pt>
                <c:pt idx="74">
                  <c:v>1.4031652798172534</c:v>
                </c:pt>
                <c:pt idx="75">
                  <c:v>1.7269468882372019</c:v>
                </c:pt>
                <c:pt idx="76">
                  <c:v>1.7078724788549104</c:v>
                </c:pt>
                <c:pt idx="77">
                  <c:v>2.0169160702667499</c:v>
                </c:pt>
                <c:pt idx="78">
                  <c:v>1.8647640668072007</c:v>
                </c:pt>
                <c:pt idx="79">
                  <c:v>1.8590365341092818</c:v>
                </c:pt>
                <c:pt idx="80">
                  <c:v>2.3316062176165886</c:v>
                </c:pt>
                <c:pt idx="81">
                  <c:v>2.1626856036152331</c:v>
                </c:pt>
                <c:pt idx="82">
                  <c:v>2.4693350548741222</c:v>
                </c:pt>
                <c:pt idx="83">
                  <c:v>2.7759845061329891</c:v>
                </c:pt>
                <c:pt idx="84">
                  <c:v>3.8573273079405945</c:v>
                </c:pt>
                <c:pt idx="85">
                  <c:v>4.0290088638194943</c:v>
                </c:pt>
                <c:pt idx="86">
                  <c:v>4.3121480289621816</c:v>
                </c:pt>
                <c:pt idx="87">
                  <c:v>4.2921204356181963</c:v>
                </c:pt>
                <c:pt idx="88">
                  <c:v>4.30193507116583</c:v>
                </c:pt>
                <c:pt idx="89">
                  <c:v>3.9859693877551061</c:v>
                </c:pt>
                <c:pt idx="90">
                  <c:v>4.1228907991085473</c:v>
                </c:pt>
                <c:pt idx="91">
                  <c:v>3.9676241866370532</c:v>
                </c:pt>
                <c:pt idx="92">
                  <c:v>3.7974683544303556</c:v>
                </c:pt>
                <c:pt idx="93">
                  <c:v>4.2338072669826365</c:v>
                </c:pt>
                <c:pt idx="94">
                  <c:v>3.7801228539927623</c:v>
                </c:pt>
                <c:pt idx="95">
                  <c:v>3.6118090452261331</c:v>
                </c:pt>
                <c:pt idx="96">
                  <c:v>2.8438228438228741</c:v>
                </c:pt>
                <c:pt idx="97">
                  <c:v>2.6646010844306733</c:v>
                </c:pt>
                <c:pt idx="98">
                  <c:v>2.2211938917167995</c:v>
                </c:pt>
                <c:pt idx="99">
                  <c:v>2.2113022113022129</c:v>
                </c:pt>
                <c:pt idx="100">
                  <c:v>2.0545844832873472</c:v>
                </c:pt>
                <c:pt idx="101">
                  <c:v>2.0545844832873472</c:v>
                </c:pt>
                <c:pt idx="102">
                  <c:v>1.6052591346888745</c:v>
                </c:pt>
                <c:pt idx="103">
                  <c:v>2.182872843840622</c:v>
                </c:pt>
                <c:pt idx="104">
                  <c:v>2.6371951219512191</c:v>
                </c:pt>
                <c:pt idx="105">
                  <c:v>2.6220066686874599</c:v>
                </c:pt>
                <c:pt idx="106">
                  <c:v>2.4738200030353541</c:v>
                </c:pt>
                <c:pt idx="107">
                  <c:v>2.1824795392543228</c:v>
                </c:pt>
                <c:pt idx="108">
                  <c:v>2.7500755515261321</c:v>
                </c:pt>
                <c:pt idx="109">
                  <c:v>2.6105326693828257</c:v>
                </c:pt>
                <c:pt idx="110">
                  <c:v>2.4596348272219792</c:v>
                </c:pt>
                <c:pt idx="111">
                  <c:v>2.4489182692307709</c:v>
                </c:pt>
                <c:pt idx="112">
                  <c:v>2.4489182692307709</c:v>
                </c:pt>
                <c:pt idx="113">
                  <c:v>2.5991586538461675</c:v>
                </c:pt>
                <c:pt idx="114">
                  <c:v>3.1748420102317265</c:v>
                </c:pt>
                <c:pt idx="115">
                  <c:v>2.4350164326262247</c:v>
                </c:pt>
                <c:pt idx="116">
                  <c:v>2.1387197386009138</c:v>
                </c:pt>
                <c:pt idx="117">
                  <c:v>1.5654999261556668</c:v>
                </c:pt>
                <c:pt idx="118">
                  <c:v>1.9845971563981157</c:v>
                </c:pt>
                <c:pt idx="119">
                  <c:v>1.8540492435479061</c:v>
                </c:pt>
                <c:pt idx="120">
                  <c:v>1.2647058823529456</c:v>
                </c:pt>
                <c:pt idx="121">
                  <c:v>1.544117647058818</c:v>
                </c:pt>
                <c:pt idx="122">
                  <c:v>1.8409425625920406</c:v>
                </c:pt>
                <c:pt idx="123">
                  <c:v>1.6864642909517613</c:v>
                </c:pt>
                <c:pt idx="124">
                  <c:v>1.8331133597301763</c:v>
                </c:pt>
                <c:pt idx="125">
                  <c:v>1.8157856201493461</c:v>
                </c:pt>
                <c:pt idx="126">
                  <c:v>1.2687764328423556</c:v>
                </c:pt>
                <c:pt idx="127">
                  <c:v>1.2687764328423556</c:v>
                </c:pt>
                <c:pt idx="128">
                  <c:v>0.97426203286317126</c:v>
                </c:pt>
                <c:pt idx="129">
                  <c:v>0.97426203286317126</c:v>
                </c:pt>
                <c:pt idx="130">
                  <c:v>0.84228870171361159</c:v>
                </c:pt>
                <c:pt idx="131">
                  <c:v>0.97568079219456649</c:v>
                </c:pt>
                <c:pt idx="132">
                  <c:v>1.2634330525704396</c:v>
                </c:pt>
                <c:pt idx="133">
                  <c:v>0.98479362780594659</c:v>
                </c:pt>
                <c:pt idx="134">
                  <c:v>0.96890817064350099</c:v>
                </c:pt>
                <c:pt idx="135">
                  <c:v>0.96625324488031072</c:v>
                </c:pt>
                <c:pt idx="136">
                  <c:v>0.96486175115206851</c:v>
                </c:pt>
                <c:pt idx="137">
                  <c:v>0.83417229972673201</c:v>
                </c:pt>
                <c:pt idx="138">
                  <c:v>1.0944700460829626</c:v>
                </c:pt>
                <c:pt idx="139">
                  <c:v>1.0944700460829626</c:v>
                </c:pt>
                <c:pt idx="140">
                  <c:v>1.0944700460829626</c:v>
                </c:pt>
                <c:pt idx="141">
                  <c:v>1.0944700460829626</c:v>
                </c:pt>
                <c:pt idx="142">
                  <c:v>1.2384792626728203</c:v>
                </c:pt>
                <c:pt idx="143">
                  <c:v>1.2402653591000901</c:v>
                </c:pt>
                <c:pt idx="144">
                  <c:v>1.2333285529900984</c:v>
                </c:pt>
                <c:pt idx="145">
                  <c:v>1.5058081170227888</c:v>
                </c:pt>
                <c:pt idx="146">
                  <c:v>1.5181896304783837</c:v>
                </c:pt>
                <c:pt idx="147">
                  <c:v>1.3712326810455533</c:v>
                </c:pt>
                <c:pt idx="148">
                  <c:v>1.4976465554129126</c:v>
                </c:pt>
                <c:pt idx="149">
                  <c:v>1.6402795606903497</c:v>
                </c:pt>
                <c:pt idx="150">
                  <c:v>1.5099715099715194</c:v>
                </c:pt>
                <c:pt idx="151">
                  <c:v>1.7806267806267817</c:v>
                </c:pt>
                <c:pt idx="152">
                  <c:v>1.9230769230769162</c:v>
                </c:pt>
                <c:pt idx="153">
                  <c:v>2.3361823361823353</c:v>
                </c:pt>
                <c:pt idx="154">
                  <c:v>2.7311522048364179</c:v>
                </c:pt>
                <c:pt idx="155">
                  <c:v>3.0056980056980098</c:v>
                </c:pt>
                <c:pt idx="156">
                  <c:v>6.1056806913160511</c:v>
                </c:pt>
                <c:pt idx="157">
                  <c:v>6.2447018931901743</c:v>
                </c:pt>
                <c:pt idx="158">
                  <c:v>6.3769751693002474</c:v>
                </c:pt>
                <c:pt idx="159">
                  <c:v>6.3829787234042534</c:v>
                </c:pt>
                <c:pt idx="160">
                  <c:v>6.2394603709949426</c:v>
                </c:pt>
                <c:pt idx="161">
                  <c:v>6.0903732809430178</c:v>
                </c:pt>
                <c:pt idx="162">
                  <c:v>6.0903732809430178</c:v>
                </c:pt>
                <c:pt idx="163">
                  <c:v>5.9482155353393962</c:v>
                </c:pt>
                <c:pt idx="164">
                  <c:v>5.9399021663172569</c:v>
                </c:pt>
                <c:pt idx="165">
                  <c:v>5.3730512249443141</c:v>
                </c:pt>
                <c:pt idx="166">
                  <c:v>4.6801440044309084</c:v>
                </c:pt>
                <c:pt idx="167">
                  <c:v>4.5498547918683352</c:v>
                </c:pt>
                <c:pt idx="168">
                  <c:v>0.26702269692921998</c:v>
                </c:pt>
                <c:pt idx="169">
                  <c:v>0</c:v>
                </c:pt>
                <c:pt idx="170">
                  <c:v>-0.39787798408489339</c:v>
                </c:pt>
                <c:pt idx="171">
                  <c:v>-0.52980132450332063</c:v>
                </c:pt>
                <c:pt idx="172">
                  <c:v>-0.66137566137566273</c:v>
                </c:pt>
                <c:pt idx="173">
                  <c:v>-0.79365079365079083</c:v>
                </c:pt>
                <c:pt idx="174">
                  <c:v>-0.79365079365079083</c:v>
                </c:pt>
                <c:pt idx="175">
                  <c:v>-1.0568031704095038</c:v>
                </c:pt>
                <c:pt idx="176">
                  <c:v>-1.055408970976246</c:v>
                </c:pt>
                <c:pt idx="177">
                  <c:v>-0.66050198150594541</c:v>
                </c:pt>
                <c:pt idx="178">
                  <c:v>-0.52910052910051242</c:v>
                </c:pt>
                <c:pt idx="179">
                  <c:v>-0.66137566137566273</c:v>
                </c:pt>
                <c:pt idx="180">
                  <c:v>0.26631158455392434</c:v>
                </c:pt>
                <c:pt idx="181">
                  <c:v>0.13297872340425343</c:v>
                </c:pt>
                <c:pt idx="182">
                  <c:v>0.26631158455392434</c:v>
                </c:pt>
                <c:pt idx="183">
                  <c:v>0.53262316910787089</c:v>
                </c:pt>
                <c:pt idx="184">
                  <c:v>0.66577896138482195</c:v>
                </c:pt>
                <c:pt idx="185">
                  <c:v>0.80000000000000071</c:v>
                </c:pt>
                <c:pt idx="186">
                  <c:v>0.93333333333334156</c:v>
                </c:pt>
                <c:pt idx="187">
                  <c:v>1.3351134846461887</c:v>
                </c:pt>
                <c:pt idx="188">
                  <c:v>1.2000000000000011</c:v>
                </c:pt>
                <c:pt idx="189">
                  <c:v>1.0638297872340496</c:v>
                </c:pt>
                <c:pt idx="190">
                  <c:v>1.0638297872340496</c:v>
                </c:pt>
                <c:pt idx="191">
                  <c:v>0.9320905459387463</c:v>
                </c:pt>
                <c:pt idx="192">
                  <c:v>0.5312084993359889</c:v>
                </c:pt>
                <c:pt idx="193">
                  <c:v>0.5312084993359889</c:v>
                </c:pt>
                <c:pt idx="194">
                  <c:v>0.39840637450199168</c:v>
                </c:pt>
                <c:pt idx="195">
                  <c:v>0.13245033112581073</c:v>
                </c:pt>
                <c:pt idx="196">
                  <c:v>0</c:v>
                </c:pt>
                <c:pt idx="197">
                  <c:v>-0.26455026455024511</c:v>
                </c:pt>
                <c:pt idx="198">
                  <c:v>-0.52840158520476299</c:v>
                </c:pt>
                <c:pt idx="199">
                  <c:v>-0.92226613965744608</c:v>
                </c:pt>
                <c:pt idx="200">
                  <c:v>-1.054018445322813</c:v>
                </c:pt>
                <c:pt idx="201">
                  <c:v>-1.5789473684210575</c:v>
                </c:pt>
                <c:pt idx="202">
                  <c:v>-1.9736842105263164</c:v>
                </c:pt>
                <c:pt idx="203">
                  <c:v>-1.846965699208436</c:v>
                </c:pt>
                <c:pt idx="204">
                  <c:v>-1.9815059445178362</c:v>
                </c:pt>
                <c:pt idx="205">
                  <c:v>-1.9815059445178362</c:v>
                </c:pt>
                <c:pt idx="206">
                  <c:v>-1.7195767195767209</c:v>
                </c:pt>
                <c:pt idx="207">
                  <c:v>-1.3227513227513255</c:v>
                </c:pt>
                <c:pt idx="208">
                  <c:v>-1.1904761904761751</c:v>
                </c:pt>
                <c:pt idx="209">
                  <c:v>-0.92838196286472163</c:v>
                </c:pt>
                <c:pt idx="210">
                  <c:v>-0.39840637450199168</c:v>
                </c:pt>
                <c:pt idx="211">
                  <c:v>0</c:v>
                </c:pt>
                <c:pt idx="212">
                  <c:v>0.39946737683089761</c:v>
                </c:pt>
                <c:pt idx="213">
                  <c:v>0.93582887700536244</c:v>
                </c:pt>
                <c:pt idx="214">
                  <c:v>1.6107382550335503</c:v>
                </c:pt>
                <c:pt idx="215">
                  <c:v>2.1505376344086002</c:v>
                </c:pt>
                <c:pt idx="216">
                  <c:v>2.5606469002695365</c:v>
                </c:pt>
                <c:pt idx="217">
                  <c:v>2.9649595687331498</c:v>
                </c:pt>
                <c:pt idx="218">
                  <c:v>3.2301480484522305</c:v>
                </c:pt>
                <c:pt idx="219">
                  <c:v>3.0831099195710587</c:v>
                </c:pt>
                <c:pt idx="220">
                  <c:v>3.4805890227576963</c:v>
                </c:pt>
                <c:pt idx="221">
                  <c:v>3.8821954484604904</c:v>
                </c:pt>
                <c:pt idx="222">
                  <c:v>4.0000000000000036</c:v>
                </c:pt>
                <c:pt idx="223">
                  <c:v>3.9893617021276695</c:v>
                </c:pt>
                <c:pt idx="224">
                  <c:v>4.6419098143235971</c:v>
                </c:pt>
                <c:pt idx="225">
                  <c:v>5.0331125827814516</c:v>
                </c:pt>
                <c:pt idx="226">
                  <c:v>5.0198150594451763</c:v>
                </c:pt>
                <c:pt idx="227">
                  <c:v>4.0789473684210487</c:v>
                </c:pt>
                <c:pt idx="228">
                  <c:v>4.3363994743758294</c:v>
                </c:pt>
                <c:pt idx="229">
                  <c:v>4.1884816753926524</c:v>
                </c:pt>
                <c:pt idx="230">
                  <c:v>3.9113428943937434</c:v>
                </c:pt>
                <c:pt idx="231">
                  <c:v>3.9011703511053319</c:v>
                </c:pt>
                <c:pt idx="232">
                  <c:v>3.4928848641655907</c:v>
                </c:pt>
                <c:pt idx="233">
                  <c:v>3.0927835051546504</c:v>
                </c:pt>
                <c:pt idx="234">
                  <c:v>2.1794871794871939</c:v>
                </c:pt>
                <c:pt idx="235">
                  <c:v>1.7902813299232712</c:v>
                </c:pt>
                <c:pt idx="236">
                  <c:v>1.0139416983523386</c:v>
                </c:pt>
                <c:pt idx="237">
                  <c:v>-0.12610340479192184</c:v>
                </c:pt>
                <c:pt idx="238">
                  <c:v>-0.88050314465408785</c:v>
                </c:pt>
                <c:pt idx="239">
                  <c:v>-0.50568900126420901</c:v>
                </c:pt>
                <c:pt idx="240">
                  <c:v>-0.50377833753149082</c:v>
                </c:pt>
                <c:pt idx="241">
                  <c:v>-0.75376884422110324</c:v>
                </c:pt>
                <c:pt idx="242">
                  <c:v>-0.50188205771644068</c:v>
                </c:pt>
                <c:pt idx="243">
                  <c:v>-0.50062578222779264</c:v>
                </c:pt>
                <c:pt idx="244">
                  <c:v>-0.62499999999999778</c:v>
                </c:pt>
                <c:pt idx="245">
                  <c:v>-0.74999999999999512</c:v>
                </c:pt>
                <c:pt idx="246">
                  <c:v>-0.25094102885822034</c:v>
                </c:pt>
                <c:pt idx="247">
                  <c:v>0</c:v>
                </c:pt>
                <c:pt idx="248">
                  <c:v>0.12547051442910462</c:v>
                </c:pt>
                <c:pt idx="249">
                  <c:v>1.0101010101010166</c:v>
                </c:pt>
                <c:pt idx="250">
                  <c:v>1.1421319796954377</c:v>
                </c:pt>
                <c:pt idx="251">
                  <c:v>1.5247776365946653</c:v>
                </c:pt>
                <c:pt idx="252">
                  <c:v>2.0253164556961911</c:v>
                </c:pt>
                <c:pt idx="253">
                  <c:v>2.5316455696202445</c:v>
                </c:pt>
                <c:pt idx="254">
                  <c:v>2.3959646910466592</c:v>
                </c:pt>
                <c:pt idx="255">
                  <c:v>1.5094339622641506</c:v>
                </c:pt>
                <c:pt idx="256">
                  <c:v>1.132075471698113</c:v>
                </c:pt>
                <c:pt idx="257">
                  <c:v>1.2594458438287104</c:v>
                </c:pt>
                <c:pt idx="258">
                  <c:v>1.132075471698113</c:v>
                </c:pt>
                <c:pt idx="259">
                  <c:v>1.2562814070351758</c:v>
                </c:pt>
                <c:pt idx="260">
                  <c:v>1.0025062656641603</c:v>
                </c:pt>
                <c:pt idx="261">
                  <c:v>0.74999999999998401</c:v>
                </c:pt>
                <c:pt idx="262">
                  <c:v>1.2547051442910906</c:v>
                </c:pt>
                <c:pt idx="263">
                  <c:v>0.87609511889861214</c:v>
                </c:pt>
                <c:pt idx="264">
                  <c:v>0.24813895781639062</c:v>
                </c:pt>
                <c:pt idx="265">
                  <c:v>-0.12345679012345512</c:v>
                </c:pt>
                <c:pt idx="266">
                  <c:v>0.24630541871921707</c:v>
                </c:pt>
                <c:pt idx="267">
                  <c:v>1.4869888475836479</c:v>
                </c:pt>
                <c:pt idx="268">
                  <c:v>2.4875621890547261</c:v>
                </c:pt>
                <c:pt idx="269">
                  <c:v>2.4875621890547261</c:v>
                </c:pt>
                <c:pt idx="270">
                  <c:v>2.9850746268656581</c:v>
                </c:pt>
                <c:pt idx="271">
                  <c:v>3.2258064516129226</c:v>
                </c:pt>
                <c:pt idx="272">
                  <c:v>3.3498759305210957</c:v>
                </c:pt>
                <c:pt idx="273">
                  <c:v>4.3424317617865915</c:v>
                </c:pt>
                <c:pt idx="274">
                  <c:v>3.8413878562577386</c:v>
                </c:pt>
                <c:pt idx="275">
                  <c:v>3.8461538461538547</c:v>
                </c:pt>
                <c:pt idx="276">
                  <c:v>4.3316831683168244</c:v>
                </c:pt>
                <c:pt idx="277">
                  <c:v>4.4499381953028383</c:v>
                </c:pt>
                <c:pt idx="278">
                  <c:v>4.5454545454545414</c:v>
                </c:pt>
                <c:pt idx="279">
                  <c:v>4.39560439560438</c:v>
                </c:pt>
                <c:pt idx="280">
                  <c:v>3.6407766990291357</c:v>
                </c:pt>
                <c:pt idx="281">
                  <c:v>4.2475728155339842</c:v>
                </c:pt>
                <c:pt idx="282">
                  <c:v>4.2270531400966149</c:v>
                </c:pt>
                <c:pt idx="283">
                  <c:v>4.2067307692307709</c:v>
                </c:pt>
                <c:pt idx="284">
                  <c:v>4.5618247298919501</c:v>
                </c:pt>
                <c:pt idx="285">
                  <c:v>4.1617122473246226</c:v>
                </c:pt>
                <c:pt idx="286">
                  <c:v>4.1766109785202898</c:v>
                </c:pt>
                <c:pt idx="287">
                  <c:v>4.5400238948626104</c:v>
                </c:pt>
                <c:pt idx="288">
                  <c:v>5.3380782918149405</c:v>
                </c:pt>
                <c:pt idx="289">
                  <c:v>5.5621301775147902</c:v>
                </c:pt>
                <c:pt idx="290">
                  <c:v>5.4054054054054168</c:v>
                </c:pt>
                <c:pt idx="291">
                  <c:v>5.6140350877192935</c:v>
                </c:pt>
                <c:pt idx="292">
                  <c:v>6.0889929742388604</c:v>
                </c:pt>
                <c:pt idx="293">
                  <c:v>5.7043073341094264</c:v>
                </c:pt>
                <c:pt idx="294">
                  <c:v>5.9096176129779909</c:v>
                </c:pt>
                <c:pt idx="295">
                  <c:v>5.6516724336793445</c:v>
                </c:pt>
                <c:pt idx="296">
                  <c:v>4.4776119402985204</c:v>
                </c:pt>
                <c:pt idx="297">
                  <c:v>3.7671232876712368</c:v>
                </c:pt>
                <c:pt idx="298">
                  <c:v>4.0091638029782439</c:v>
                </c:pt>
                <c:pt idx="299">
                  <c:v>3.7714285714285589</c:v>
                </c:pt>
                <c:pt idx="300">
                  <c:v>2.5900900900900803</c:v>
                </c:pt>
                <c:pt idx="301">
                  <c:v>2.4663677130044803</c:v>
                </c:pt>
                <c:pt idx="302">
                  <c:v>2.2296544035674382</c:v>
                </c:pt>
                <c:pt idx="303">
                  <c:v>1.9933554817275656</c:v>
                </c:pt>
                <c:pt idx="304">
                  <c:v>2.0971302428256067</c:v>
                </c:pt>
                <c:pt idx="305">
                  <c:v>1.982378854625555</c:v>
                </c:pt>
                <c:pt idx="306">
                  <c:v>1.6411378555798661</c:v>
                </c:pt>
                <c:pt idx="307">
                  <c:v>1.5283842794759916</c:v>
                </c:pt>
                <c:pt idx="308">
                  <c:v>2.6373626373626502</c:v>
                </c:pt>
                <c:pt idx="309">
                  <c:v>3.3003300330032959</c:v>
                </c:pt>
                <c:pt idx="310">
                  <c:v>4.4052863436123246</c:v>
                </c:pt>
                <c:pt idx="311">
                  <c:v>4.6255506607929542</c:v>
                </c:pt>
                <c:pt idx="312">
                  <c:v>5.1591657519209688</c:v>
                </c:pt>
                <c:pt idx="313">
                  <c:v>5.4704595185995686</c:v>
                </c:pt>
                <c:pt idx="314">
                  <c:v>5.7797164667393597</c:v>
                </c:pt>
                <c:pt idx="315">
                  <c:v>6.080347448425627</c:v>
                </c:pt>
                <c:pt idx="316">
                  <c:v>6.9189189189189149</c:v>
                </c:pt>
                <c:pt idx="317">
                  <c:v>7.8833693304535712</c:v>
                </c:pt>
                <c:pt idx="318">
                  <c:v>8.9343379978471518</c:v>
                </c:pt>
                <c:pt idx="319">
                  <c:v>8.2795698924731163</c:v>
                </c:pt>
                <c:pt idx="320">
                  <c:v>7.7087794432548096</c:v>
                </c:pt>
                <c:pt idx="321">
                  <c:v>6.1767838125665664</c:v>
                </c:pt>
                <c:pt idx="322">
                  <c:v>3.0590717299578074</c:v>
                </c:pt>
                <c:pt idx="323">
                  <c:v>1.3684210526315743</c:v>
                </c:pt>
                <c:pt idx="324">
                  <c:v>-0.52192066805845094</c:v>
                </c:pt>
                <c:pt idx="325">
                  <c:v>-1.7634854771784281</c:v>
                </c:pt>
                <c:pt idx="326">
                  <c:v>-2.989690721649485</c:v>
                </c:pt>
                <c:pt idx="327">
                  <c:v>-4.5035823950870029</c:v>
                </c:pt>
                <c:pt idx="328">
                  <c:v>-5.6622851365015219</c:v>
                </c:pt>
                <c:pt idx="329">
                  <c:v>-6.3063063063063201</c:v>
                </c:pt>
                <c:pt idx="330">
                  <c:v>-8.2015810276679808</c:v>
                </c:pt>
                <c:pt idx="331">
                  <c:v>-7.2492552135054567</c:v>
                </c:pt>
                <c:pt idx="332">
                  <c:v>-7.4552683896620291</c:v>
                </c:pt>
                <c:pt idx="333">
                  <c:v>-6.4192577733199645</c:v>
                </c:pt>
                <c:pt idx="334">
                  <c:v>-4.2988741044012286</c:v>
                </c:pt>
                <c:pt idx="335">
                  <c:v>-2.9075804776739322</c:v>
                </c:pt>
                <c:pt idx="336">
                  <c:v>-1.1542497376705096</c:v>
                </c:pt>
                <c:pt idx="337">
                  <c:v>-0.42238648363253084</c:v>
                </c:pt>
                <c:pt idx="338">
                  <c:v>0.74388947927737092</c:v>
                </c:pt>
                <c:pt idx="339">
                  <c:v>2.4651661307609762</c:v>
                </c:pt>
                <c:pt idx="340">
                  <c:v>2.8938906752411508</c:v>
                </c:pt>
                <c:pt idx="341">
                  <c:v>2.991452991453003</c:v>
                </c:pt>
                <c:pt idx="342">
                  <c:v>3.9827771797631639</c:v>
                </c:pt>
                <c:pt idx="343">
                  <c:v>3.5331905781584627</c:v>
                </c:pt>
                <c:pt idx="344">
                  <c:v>4.1890440386681105</c:v>
                </c:pt>
                <c:pt idx="345">
                  <c:v>4.0728831725616255</c:v>
                </c:pt>
                <c:pt idx="346">
                  <c:v>4.2780748663101553</c:v>
                </c:pt>
                <c:pt idx="347">
                  <c:v>5.0267379679144408</c:v>
                </c:pt>
                <c:pt idx="348">
                  <c:v>5.5201698513800412</c:v>
                </c:pt>
                <c:pt idx="349">
                  <c:v>6.1505832449628706</c:v>
                </c:pt>
                <c:pt idx="350">
                  <c:v>6.4345991561181481</c:v>
                </c:pt>
                <c:pt idx="351">
                  <c:v>6.4853556485355623</c:v>
                </c:pt>
                <c:pt idx="352">
                  <c:v>5.9374999999999956</c:v>
                </c:pt>
                <c:pt idx="353">
                  <c:v>5.6016597510373245</c:v>
                </c:pt>
                <c:pt idx="354">
                  <c:v>5.9006211180124168</c:v>
                </c:pt>
                <c:pt idx="355">
                  <c:v>5.6876938986556436</c:v>
                </c:pt>
                <c:pt idx="356">
                  <c:v>5.5670103092783529</c:v>
                </c:pt>
                <c:pt idx="357">
                  <c:v>5.5612770339855899</c:v>
                </c:pt>
                <c:pt idx="358">
                  <c:v>5.4358974358974299</c:v>
                </c:pt>
                <c:pt idx="359">
                  <c:v>4.378818737270862</c:v>
                </c:pt>
                <c:pt idx="360">
                  <c:v>3.8229376257545189</c:v>
                </c:pt>
                <c:pt idx="361">
                  <c:v>3.6963036963036933</c:v>
                </c:pt>
                <c:pt idx="362">
                  <c:v>3.3696729435084061</c:v>
                </c:pt>
                <c:pt idx="363">
                  <c:v>2.6522593320235766</c:v>
                </c:pt>
                <c:pt idx="364">
                  <c:v>2.5565388397246647</c:v>
                </c:pt>
                <c:pt idx="365">
                  <c:v>1.9646365422396839</c:v>
                </c:pt>
                <c:pt idx="366">
                  <c:v>1.8572825024437911</c:v>
                </c:pt>
                <c:pt idx="367">
                  <c:v>2.739726027397249</c:v>
                </c:pt>
                <c:pt idx="368">
                  <c:v>2.734375</c:v>
                </c:pt>
                <c:pt idx="369">
                  <c:v>2.5365853658536608</c:v>
                </c:pt>
                <c:pt idx="370">
                  <c:v>2.0428015564202484</c:v>
                </c:pt>
                <c:pt idx="371">
                  <c:v>2.1463414634146361</c:v>
                </c:pt>
                <c:pt idx="372">
                  <c:v>1.8410852713178105</c:v>
                </c:pt>
                <c:pt idx="373">
                  <c:v>1.3487475915221703</c:v>
                </c:pt>
                <c:pt idx="374">
                  <c:v>0.57526366251199335</c:v>
                </c:pt>
                <c:pt idx="375">
                  <c:v>-0.1913875598086201</c:v>
                </c:pt>
                <c:pt idx="376">
                  <c:v>-0.28763183125598557</c:v>
                </c:pt>
                <c:pt idx="377">
                  <c:v>0.19267822736031004</c:v>
                </c:pt>
                <c:pt idx="378">
                  <c:v>-9.5969289827257942E-2</c:v>
                </c:pt>
                <c:pt idx="379">
                  <c:v>-0.85714285714286742</c:v>
                </c:pt>
                <c:pt idx="380">
                  <c:v>-0.85551330798480096</c:v>
                </c:pt>
                <c:pt idx="381">
                  <c:v>-1.2369172216936231</c:v>
                </c:pt>
                <c:pt idx="382">
                  <c:v>-1.1439466158245981</c:v>
                </c:pt>
                <c:pt idx="383">
                  <c:v>-0.76408787010505685</c:v>
                </c:pt>
                <c:pt idx="384">
                  <c:v>-1.4272121788772574</c:v>
                </c:pt>
                <c:pt idx="385">
                  <c:v>-1.7110266159695797</c:v>
                </c:pt>
                <c:pt idx="386">
                  <c:v>-1.7159199237369083</c:v>
                </c:pt>
                <c:pt idx="387">
                  <c:v>-1.3422818791946178</c:v>
                </c:pt>
                <c:pt idx="388">
                  <c:v>-1.1538461538461608</c:v>
                </c:pt>
                <c:pt idx="389">
                  <c:v>-0.96153846153845812</c:v>
                </c:pt>
                <c:pt idx="390">
                  <c:v>-1.2487992315081575</c:v>
                </c:pt>
                <c:pt idx="391">
                  <c:v>-1.5369836695485084</c:v>
                </c:pt>
                <c:pt idx="392">
                  <c:v>-1.5340364333652823</c:v>
                </c:pt>
                <c:pt idx="393">
                  <c:v>-1.3487475915221481</c:v>
                </c:pt>
                <c:pt idx="394">
                  <c:v>-1.5429122468659684</c:v>
                </c:pt>
                <c:pt idx="395">
                  <c:v>-2.694898941289714</c:v>
                </c:pt>
                <c:pt idx="396">
                  <c:v>-3.474903474903468</c:v>
                </c:pt>
                <c:pt idx="397">
                  <c:v>-2.8046421663442955</c:v>
                </c:pt>
                <c:pt idx="398">
                  <c:v>-2.2308438409311293</c:v>
                </c:pt>
                <c:pt idx="399">
                  <c:v>-2.0408163265306256</c:v>
                </c:pt>
                <c:pt idx="400">
                  <c:v>-1.945525291828798</c:v>
                </c:pt>
                <c:pt idx="401">
                  <c:v>-2.1359223300970953</c:v>
                </c:pt>
                <c:pt idx="402">
                  <c:v>-2.1400778210116767</c:v>
                </c:pt>
                <c:pt idx="403">
                  <c:v>-2.634146341463417</c:v>
                </c:pt>
                <c:pt idx="404">
                  <c:v>-3.1158714703018564</c:v>
                </c:pt>
                <c:pt idx="405">
                  <c:v>-3.125</c:v>
                </c:pt>
                <c:pt idx="406">
                  <c:v>-3.0362389813907931</c:v>
                </c:pt>
                <c:pt idx="407">
                  <c:v>-2.8684470820969254</c:v>
                </c:pt>
                <c:pt idx="408">
                  <c:v>-2.8000000000000025</c:v>
                </c:pt>
                <c:pt idx="409">
                  <c:v>-3.8805970149253799</c:v>
                </c:pt>
                <c:pt idx="410">
                  <c:v>-3.9682539682539653</c:v>
                </c:pt>
                <c:pt idx="411">
                  <c:v>-4.2658730158730123</c:v>
                </c:pt>
                <c:pt idx="412">
                  <c:v>-3.6706349206349187</c:v>
                </c:pt>
                <c:pt idx="413">
                  <c:v>-2.9761904761904767</c:v>
                </c:pt>
                <c:pt idx="414">
                  <c:v>-2.3856858846918461</c:v>
                </c:pt>
                <c:pt idx="415">
                  <c:v>-1.8036072144288595</c:v>
                </c:pt>
                <c:pt idx="416">
                  <c:v>-1.3065326633165841</c:v>
                </c:pt>
                <c:pt idx="417">
                  <c:v>-0.40322580645162365</c:v>
                </c:pt>
                <c:pt idx="418">
                  <c:v>0.10101010101009056</c:v>
                </c:pt>
                <c:pt idx="419">
                  <c:v>1.6293279022403295</c:v>
                </c:pt>
                <c:pt idx="420">
                  <c:v>3.8065843621399198</c:v>
                </c:pt>
                <c:pt idx="421">
                  <c:v>4.3478260869565188</c:v>
                </c:pt>
                <c:pt idx="422">
                  <c:v>3.8223140495867725</c:v>
                </c:pt>
                <c:pt idx="423">
                  <c:v>4.2487046632124326</c:v>
                </c:pt>
                <c:pt idx="424">
                  <c:v>3.2955715756951554</c:v>
                </c:pt>
                <c:pt idx="425">
                  <c:v>2.3517382413087873</c:v>
                </c:pt>
                <c:pt idx="426">
                  <c:v>1.9348268839103788</c:v>
                </c:pt>
                <c:pt idx="427">
                  <c:v>2.4489795918367419</c:v>
                </c:pt>
                <c:pt idx="428">
                  <c:v>2.6476578411405161</c:v>
                </c:pt>
                <c:pt idx="429">
                  <c:v>2.4291497975708509</c:v>
                </c:pt>
                <c:pt idx="430">
                  <c:v>2.7245206861755911</c:v>
                </c:pt>
                <c:pt idx="431">
                  <c:v>2.2044088176352838</c:v>
                </c:pt>
                <c:pt idx="432">
                  <c:v>1.4866204162537144</c:v>
                </c:pt>
                <c:pt idx="433">
                  <c:v>1.6865079365079305</c:v>
                </c:pt>
                <c:pt idx="434">
                  <c:v>1.990049751243772</c:v>
                </c:pt>
                <c:pt idx="435">
                  <c:v>1.7892644135188984</c:v>
                </c:pt>
                <c:pt idx="436">
                  <c:v>2.9910269192422678</c:v>
                </c:pt>
                <c:pt idx="437">
                  <c:v>3.5964035964036078</c:v>
                </c:pt>
                <c:pt idx="438">
                  <c:v>4.2957042957043168</c:v>
                </c:pt>
                <c:pt idx="439">
                  <c:v>4.4820717131474064</c:v>
                </c:pt>
                <c:pt idx="440">
                  <c:v>4.5634920634920695</c:v>
                </c:pt>
                <c:pt idx="441">
                  <c:v>5.039525691699609</c:v>
                </c:pt>
                <c:pt idx="442">
                  <c:v>4.1257367387033339</c:v>
                </c:pt>
                <c:pt idx="443">
                  <c:v>3.1372549019607954</c:v>
                </c:pt>
                <c:pt idx="444">
                  <c:v>3.02734375</c:v>
                </c:pt>
                <c:pt idx="445">
                  <c:v>2.9268292682926855</c:v>
                </c:pt>
                <c:pt idx="446">
                  <c:v>2.8292682926829293</c:v>
                </c:pt>
                <c:pt idx="447">
                  <c:v>2.6367187499999778</c:v>
                </c:pt>
                <c:pt idx="448">
                  <c:v>1.6456921587608919</c:v>
                </c:pt>
                <c:pt idx="449">
                  <c:v>0.67502410800386325</c:v>
                </c:pt>
                <c:pt idx="450">
                  <c:v>9.5785440613016526E-2</c:v>
                </c:pt>
                <c:pt idx="451">
                  <c:v>-0.85795996186844858</c:v>
                </c:pt>
                <c:pt idx="452">
                  <c:v>-1.2333965844402384</c:v>
                </c:pt>
                <c:pt idx="453">
                  <c:v>-1.9755409219190945</c:v>
                </c:pt>
                <c:pt idx="454">
                  <c:v>-1.4150943396226467</c:v>
                </c:pt>
                <c:pt idx="455">
                  <c:v>-0.66539923954372915</c:v>
                </c:pt>
                <c:pt idx="456">
                  <c:v>-0.75829383886255597</c:v>
                </c:pt>
                <c:pt idx="457">
                  <c:v>-1.4218009478673022</c:v>
                </c:pt>
                <c:pt idx="458">
                  <c:v>-2.8462998102466774</c:v>
                </c:pt>
                <c:pt idx="459">
                  <c:v>-4.5670789724072236</c:v>
                </c:pt>
                <c:pt idx="460">
                  <c:v>-5.0476190476190457</c:v>
                </c:pt>
                <c:pt idx="461">
                  <c:v>-3.7356321839080553</c:v>
                </c:pt>
                <c:pt idx="462">
                  <c:v>-3.157894736842104</c:v>
                </c:pt>
                <c:pt idx="463">
                  <c:v>-2.596153846153848</c:v>
                </c:pt>
                <c:pt idx="464">
                  <c:v>-2.3054755043227626</c:v>
                </c:pt>
                <c:pt idx="465">
                  <c:v>-2.0153550863723724</c:v>
                </c:pt>
                <c:pt idx="466">
                  <c:v>-2.0095693779904278</c:v>
                </c:pt>
                <c:pt idx="467">
                  <c:v>-1.1483253588516762</c:v>
                </c:pt>
                <c:pt idx="468">
                  <c:v>0.38204393505252288</c:v>
                </c:pt>
                <c:pt idx="469">
                  <c:v>1.538461538461533</c:v>
                </c:pt>
                <c:pt idx="470">
                  <c:v>4.39453125</c:v>
                </c:pt>
                <c:pt idx="471">
                  <c:v>7.5772681954137777</c:v>
                </c:pt>
                <c:pt idx="472">
                  <c:v>9.6288866599799405</c:v>
                </c:pt>
                <c:pt idx="473">
                  <c:v>10.248756218905463</c:v>
                </c:pt>
                <c:pt idx="474">
                  <c:v>12.055335968379444</c:v>
                </c:pt>
                <c:pt idx="475">
                  <c:v>#N/A</c:v>
                </c:pt>
                <c:pt idx="476">
                  <c:v>#N/A</c:v>
                </c:pt>
                <c:pt idx="477">
                  <c:v>#N/A</c:v>
                </c:pt>
                <c:pt idx="478">
                  <c:v>#N/A</c:v>
                </c:pt>
                <c:pt idx="479">
                  <c:v>#N/A</c:v>
                </c:pt>
              </c:numCache>
            </c:numRef>
          </c:val>
          <c:smooth val="0"/>
          <c:extLst>
            <c:ext xmlns:c16="http://schemas.microsoft.com/office/drawing/2014/chart" uri="{C3380CC4-5D6E-409C-BE32-E72D297353CC}">
              <c16:uniqueId val="{00000000-E187-4FB8-94EE-60A25D456E0A}"/>
            </c:ext>
          </c:extLst>
        </c:ser>
        <c:ser>
          <c:idx val="2"/>
          <c:order val="1"/>
          <c:tx>
            <c:strRef>
              <c:f>PPI_1980!$J$8</c:f>
              <c:strCache>
                <c:ptCount val="1"/>
                <c:pt idx="0">
                  <c:v>Energie</c:v>
                </c:pt>
              </c:strCache>
            </c:strRef>
          </c:tx>
          <c:spPr>
            <a:ln w="19050" cap="rnd">
              <a:solidFill>
                <a:srgbClr val="0A0EFA"/>
              </a:solidFill>
              <a:prstDash val="sysDot"/>
              <a:round/>
            </a:ln>
            <a:effectLst/>
          </c:spPr>
          <c:marker>
            <c:symbol val="none"/>
          </c:marker>
          <c:cat>
            <c:numRef>
              <c:f>PPI_1980!$C$35:$C$514</c:f>
              <c:numCache>
                <c:formatCode>m/d/yyyy</c:formatCode>
                <c:ptCount val="480"/>
                <c:pt idx="0">
                  <c:v>29966</c:v>
                </c:pt>
                <c:pt idx="1">
                  <c:v>29997</c:v>
                </c:pt>
                <c:pt idx="2">
                  <c:v>30025</c:v>
                </c:pt>
                <c:pt idx="3">
                  <c:v>30056</c:v>
                </c:pt>
                <c:pt idx="4">
                  <c:v>30086</c:v>
                </c:pt>
                <c:pt idx="5">
                  <c:v>30117</c:v>
                </c:pt>
                <c:pt idx="6">
                  <c:v>30147</c:v>
                </c:pt>
                <c:pt idx="7">
                  <c:v>30178</c:v>
                </c:pt>
                <c:pt idx="8">
                  <c:v>30209</c:v>
                </c:pt>
                <c:pt idx="9">
                  <c:v>30239</c:v>
                </c:pt>
                <c:pt idx="10">
                  <c:v>30270</c:v>
                </c:pt>
                <c:pt idx="11">
                  <c:v>30300</c:v>
                </c:pt>
                <c:pt idx="12">
                  <c:v>30331</c:v>
                </c:pt>
                <c:pt idx="13">
                  <c:v>30362</c:v>
                </c:pt>
                <c:pt idx="14">
                  <c:v>30390</c:v>
                </c:pt>
                <c:pt idx="15">
                  <c:v>30421</c:v>
                </c:pt>
                <c:pt idx="16">
                  <c:v>30451</c:v>
                </c:pt>
                <c:pt idx="17">
                  <c:v>30482</c:v>
                </c:pt>
                <c:pt idx="18">
                  <c:v>30512</c:v>
                </c:pt>
                <c:pt idx="19">
                  <c:v>30543</c:v>
                </c:pt>
                <c:pt idx="20">
                  <c:v>30574</c:v>
                </c:pt>
                <c:pt idx="21">
                  <c:v>30604</c:v>
                </c:pt>
                <c:pt idx="22">
                  <c:v>30635</c:v>
                </c:pt>
                <c:pt idx="23">
                  <c:v>30665</c:v>
                </c:pt>
                <c:pt idx="24">
                  <c:v>30696</c:v>
                </c:pt>
                <c:pt idx="25">
                  <c:v>30727</c:v>
                </c:pt>
                <c:pt idx="26">
                  <c:v>30756</c:v>
                </c:pt>
                <c:pt idx="27">
                  <c:v>30787</c:v>
                </c:pt>
                <c:pt idx="28">
                  <c:v>30817</c:v>
                </c:pt>
                <c:pt idx="29">
                  <c:v>30848</c:v>
                </c:pt>
                <c:pt idx="30">
                  <c:v>30878</c:v>
                </c:pt>
                <c:pt idx="31">
                  <c:v>30909</c:v>
                </c:pt>
                <c:pt idx="32">
                  <c:v>30940</c:v>
                </c:pt>
                <c:pt idx="33">
                  <c:v>30970</c:v>
                </c:pt>
                <c:pt idx="34">
                  <c:v>31001</c:v>
                </c:pt>
                <c:pt idx="35">
                  <c:v>31031</c:v>
                </c:pt>
                <c:pt idx="36">
                  <c:v>31062</c:v>
                </c:pt>
                <c:pt idx="37">
                  <c:v>31093</c:v>
                </c:pt>
                <c:pt idx="38">
                  <c:v>31121</c:v>
                </c:pt>
                <c:pt idx="39">
                  <c:v>31152</c:v>
                </c:pt>
                <c:pt idx="40">
                  <c:v>31182</c:v>
                </c:pt>
                <c:pt idx="41">
                  <c:v>31213</c:v>
                </c:pt>
                <c:pt idx="42">
                  <c:v>31243</c:v>
                </c:pt>
                <c:pt idx="43">
                  <c:v>31274</c:v>
                </c:pt>
                <c:pt idx="44">
                  <c:v>31305</c:v>
                </c:pt>
                <c:pt idx="45">
                  <c:v>31335</c:v>
                </c:pt>
                <c:pt idx="46">
                  <c:v>31366</c:v>
                </c:pt>
                <c:pt idx="47">
                  <c:v>31396</c:v>
                </c:pt>
                <c:pt idx="48">
                  <c:v>31427</c:v>
                </c:pt>
                <c:pt idx="49">
                  <c:v>31458</c:v>
                </c:pt>
                <c:pt idx="50">
                  <c:v>31486</c:v>
                </c:pt>
                <c:pt idx="51">
                  <c:v>31517</c:v>
                </c:pt>
                <c:pt idx="52">
                  <c:v>31547</c:v>
                </c:pt>
                <c:pt idx="53">
                  <c:v>31578</c:v>
                </c:pt>
                <c:pt idx="54">
                  <c:v>31608</c:v>
                </c:pt>
                <c:pt idx="55">
                  <c:v>31639</c:v>
                </c:pt>
                <c:pt idx="56">
                  <c:v>31670</c:v>
                </c:pt>
                <c:pt idx="57">
                  <c:v>31700</c:v>
                </c:pt>
                <c:pt idx="58">
                  <c:v>31731</c:v>
                </c:pt>
                <c:pt idx="59">
                  <c:v>31761</c:v>
                </c:pt>
                <c:pt idx="60">
                  <c:v>31792</c:v>
                </c:pt>
                <c:pt idx="61">
                  <c:v>31823</c:v>
                </c:pt>
                <c:pt idx="62">
                  <c:v>31851</c:v>
                </c:pt>
                <c:pt idx="63">
                  <c:v>31882</c:v>
                </c:pt>
                <c:pt idx="64">
                  <c:v>31912</c:v>
                </c:pt>
                <c:pt idx="65">
                  <c:v>31943</c:v>
                </c:pt>
                <c:pt idx="66">
                  <c:v>31973</c:v>
                </c:pt>
                <c:pt idx="67">
                  <c:v>32004</c:v>
                </c:pt>
                <c:pt idx="68">
                  <c:v>32035</c:v>
                </c:pt>
                <c:pt idx="69">
                  <c:v>32065</c:v>
                </c:pt>
                <c:pt idx="70">
                  <c:v>32096</c:v>
                </c:pt>
                <c:pt idx="71">
                  <c:v>32126</c:v>
                </c:pt>
                <c:pt idx="72">
                  <c:v>32157</c:v>
                </c:pt>
                <c:pt idx="73">
                  <c:v>32188</c:v>
                </c:pt>
                <c:pt idx="74">
                  <c:v>32217</c:v>
                </c:pt>
                <c:pt idx="75">
                  <c:v>32248</c:v>
                </c:pt>
                <c:pt idx="76">
                  <c:v>32278</c:v>
                </c:pt>
                <c:pt idx="77">
                  <c:v>32309</c:v>
                </c:pt>
                <c:pt idx="78">
                  <c:v>32339</c:v>
                </c:pt>
                <c:pt idx="79">
                  <c:v>32370</c:v>
                </c:pt>
                <c:pt idx="80">
                  <c:v>32401</c:v>
                </c:pt>
                <c:pt idx="81">
                  <c:v>32431</c:v>
                </c:pt>
                <c:pt idx="82">
                  <c:v>32462</c:v>
                </c:pt>
                <c:pt idx="83">
                  <c:v>32492</c:v>
                </c:pt>
                <c:pt idx="84">
                  <c:v>32523</c:v>
                </c:pt>
                <c:pt idx="85">
                  <c:v>32554</c:v>
                </c:pt>
                <c:pt idx="86">
                  <c:v>32582</c:v>
                </c:pt>
                <c:pt idx="87">
                  <c:v>32613</c:v>
                </c:pt>
                <c:pt idx="88">
                  <c:v>32643</c:v>
                </c:pt>
                <c:pt idx="89">
                  <c:v>32674</c:v>
                </c:pt>
                <c:pt idx="90">
                  <c:v>32704</c:v>
                </c:pt>
                <c:pt idx="91">
                  <c:v>32735</c:v>
                </c:pt>
                <c:pt idx="92">
                  <c:v>32766</c:v>
                </c:pt>
                <c:pt idx="93">
                  <c:v>32796</c:v>
                </c:pt>
                <c:pt idx="94">
                  <c:v>32827</c:v>
                </c:pt>
                <c:pt idx="95">
                  <c:v>32857</c:v>
                </c:pt>
                <c:pt idx="96">
                  <c:v>32888</c:v>
                </c:pt>
                <c:pt idx="97">
                  <c:v>32919</c:v>
                </c:pt>
                <c:pt idx="98">
                  <c:v>32947</c:v>
                </c:pt>
                <c:pt idx="99">
                  <c:v>32978</c:v>
                </c:pt>
                <c:pt idx="100">
                  <c:v>33008</c:v>
                </c:pt>
                <c:pt idx="101">
                  <c:v>33039</c:v>
                </c:pt>
                <c:pt idx="102">
                  <c:v>33069</c:v>
                </c:pt>
                <c:pt idx="103">
                  <c:v>33100</c:v>
                </c:pt>
                <c:pt idx="104">
                  <c:v>33131</c:v>
                </c:pt>
                <c:pt idx="105">
                  <c:v>33161</c:v>
                </c:pt>
                <c:pt idx="106">
                  <c:v>33192</c:v>
                </c:pt>
                <c:pt idx="107">
                  <c:v>33222</c:v>
                </c:pt>
                <c:pt idx="108">
                  <c:v>33253</c:v>
                </c:pt>
                <c:pt idx="109">
                  <c:v>33284</c:v>
                </c:pt>
                <c:pt idx="110">
                  <c:v>33312</c:v>
                </c:pt>
                <c:pt idx="111">
                  <c:v>33343</c:v>
                </c:pt>
                <c:pt idx="112">
                  <c:v>33373</c:v>
                </c:pt>
                <c:pt idx="113">
                  <c:v>33404</c:v>
                </c:pt>
                <c:pt idx="114">
                  <c:v>33434</c:v>
                </c:pt>
                <c:pt idx="115">
                  <c:v>33465</c:v>
                </c:pt>
                <c:pt idx="116">
                  <c:v>33496</c:v>
                </c:pt>
                <c:pt idx="117">
                  <c:v>33526</c:v>
                </c:pt>
                <c:pt idx="118">
                  <c:v>33557</c:v>
                </c:pt>
                <c:pt idx="119">
                  <c:v>33587</c:v>
                </c:pt>
                <c:pt idx="120">
                  <c:v>33618</c:v>
                </c:pt>
                <c:pt idx="121">
                  <c:v>33649</c:v>
                </c:pt>
                <c:pt idx="122">
                  <c:v>33678</c:v>
                </c:pt>
                <c:pt idx="123">
                  <c:v>33709</c:v>
                </c:pt>
                <c:pt idx="124">
                  <c:v>33739</c:v>
                </c:pt>
                <c:pt idx="125">
                  <c:v>33770</c:v>
                </c:pt>
                <c:pt idx="126">
                  <c:v>33800</c:v>
                </c:pt>
                <c:pt idx="127">
                  <c:v>33831</c:v>
                </c:pt>
                <c:pt idx="128">
                  <c:v>33862</c:v>
                </c:pt>
                <c:pt idx="129">
                  <c:v>33892</c:v>
                </c:pt>
                <c:pt idx="130">
                  <c:v>33923</c:v>
                </c:pt>
                <c:pt idx="131">
                  <c:v>33953</c:v>
                </c:pt>
                <c:pt idx="132">
                  <c:v>33984</c:v>
                </c:pt>
                <c:pt idx="133">
                  <c:v>34015</c:v>
                </c:pt>
                <c:pt idx="134">
                  <c:v>34043</c:v>
                </c:pt>
                <c:pt idx="135">
                  <c:v>34074</c:v>
                </c:pt>
                <c:pt idx="136">
                  <c:v>34104</c:v>
                </c:pt>
                <c:pt idx="137">
                  <c:v>34135</c:v>
                </c:pt>
                <c:pt idx="138">
                  <c:v>34165</c:v>
                </c:pt>
                <c:pt idx="139">
                  <c:v>34196</c:v>
                </c:pt>
                <c:pt idx="140">
                  <c:v>34227</c:v>
                </c:pt>
                <c:pt idx="141">
                  <c:v>34257</c:v>
                </c:pt>
                <c:pt idx="142">
                  <c:v>34288</c:v>
                </c:pt>
                <c:pt idx="143">
                  <c:v>34318</c:v>
                </c:pt>
                <c:pt idx="144">
                  <c:v>34349</c:v>
                </c:pt>
                <c:pt idx="145">
                  <c:v>34380</c:v>
                </c:pt>
                <c:pt idx="146">
                  <c:v>34408</c:v>
                </c:pt>
                <c:pt idx="147">
                  <c:v>34439</c:v>
                </c:pt>
                <c:pt idx="148">
                  <c:v>34469</c:v>
                </c:pt>
                <c:pt idx="149">
                  <c:v>34500</c:v>
                </c:pt>
                <c:pt idx="150">
                  <c:v>34530</c:v>
                </c:pt>
                <c:pt idx="151">
                  <c:v>34561</c:v>
                </c:pt>
                <c:pt idx="152">
                  <c:v>34592</c:v>
                </c:pt>
                <c:pt idx="153">
                  <c:v>34622</c:v>
                </c:pt>
                <c:pt idx="154">
                  <c:v>34653</c:v>
                </c:pt>
                <c:pt idx="155">
                  <c:v>34683</c:v>
                </c:pt>
                <c:pt idx="156">
                  <c:v>34714</c:v>
                </c:pt>
                <c:pt idx="157">
                  <c:v>34745</c:v>
                </c:pt>
                <c:pt idx="158">
                  <c:v>34773</c:v>
                </c:pt>
                <c:pt idx="159">
                  <c:v>34804</c:v>
                </c:pt>
                <c:pt idx="160">
                  <c:v>34834</c:v>
                </c:pt>
                <c:pt idx="161">
                  <c:v>34865</c:v>
                </c:pt>
                <c:pt idx="162">
                  <c:v>34895</c:v>
                </c:pt>
                <c:pt idx="163">
                  <c:v>34926</c:v>
                </c:pt>
                <c:pt idx="164">
                  <c:v>34957</c:v>
                </c:pt>
                <c:pt idx="165">
                  <c:v>34987</c:v>
                </c:pt>
                <c:pt idx="166">
                  <c:v>35018</c:v>
                </c:pt>
                <c:pt idx="167">
                  <c:v>35048</c:v>
                </c:pt>
                <c:pt idx="168">
                  <c:v>35079</c:v>
                </c:pt>
                <c:pt idx="169">
                  <c:v>35110</c:v>
                </c:pt>
                <c:pt idx="170">
                  <c:v>35139</c:v>
                </c:pt>
                <c:pt idx="171">
                  <c:v>35170</c:v>
                </c:pt>
                <c:pt idx="172">
                  <c:v>35200</c:v>
                </c:pt>
                <c:pt idx="173">
                  <c:v>35231</c:v>
                </c:pt>
                <c:pt idx="174">
                  <c:v>35261</c:v>
                </c:pt>
                <c:pt idx="175">
                  <c:v>35292</c:v>
                </c:pt>
                <c:pt idx="176">
                  <c:v>35323</c:v>
                </c:pt>
                <c:pt idx="177">
                  <c:v>35353</c:v>
                </c:pt>
                <c:pt idx="178">
                  <c:v>35384</c:v>
                </c:pt>
                <c:pt idx="179">
                  <c:v>35414</c:v>
                </c:pt>
                <c:pt idx="180">
                  <c:v>35445</c:v>
                </c:pt>
                <c:pt idx="181">
                  <c:v>35476</c:v>
                </c:pt>
                <c:pt idx="182">
                  <c:v>35504</c:v>
                </c:pt>
                <c:pt idx="183">
                  <c:v>35535</c:v>
                </c:pt>
                <c:pt idx="184">
                  <c:v>35565</c:v>
                </c:pt>
                <c:pt idx="185">
                  <c:v>35596</c:v>
                </c:pt>
                <c:pt idx="186">
                  <c:v>35626</c:v>
                </c:pt>
                <c:pt idx="187">
                  <c:v>35657</c:v>
                </c:pt>
                <c:pt idx="188">
                  <c:v>35688</c:v>
                </c:pt>
                <c:pt idx="189">
                  <c:v>35718</c:v>
                </c:pt>
                <c:pt idx="190">
                  <c:v>35749</c:v>
                </c:pt>
                <c:pt idx="191">
                  <c:v>35779</c:v>
                </c:pt>
                <c:pt idx="192">
                  <c:v>35810</c:v>
                </c:pt>
                <c:pt idx="193">
                  <c:v>35841</c:v>
                </c:pt>
                <c:pt idx="194">
                  <c:v>35869</c:v>
                </c:pt>
                <c:pt idx="195">
                  <c:v>35900</c:v>
                </c:pt>
                <c:pt idx="196">
                  <c:v>35930</c:v>
                </c:pt>
                <c:pt idx="197">
                  <c:v>35961</c:v>
                </c:pt>
                <c:pt idx="198">
                  <c:v>35991</c:v>
                </c:pt>
                <c:pt idx="199">
                  <c:v>36022</c:v>
                </c:pt>
                <c:pt idx="200">
                  <c:v>36053</c:v>
                </c:pt>
                <c:pt idx="201">
                  <c:v>36083</c:v>
                </c:pt>
                <c:pt idx="202">
                  <c:v>36114</c:v>
                </c:pt>
                <c:pt idx="203">
                  <c:v>36144</c:v>
                </c:pt>
                <c:pt idx="204">
                  <c:v>36175</c:v>
                </c:pt>
                <c:pt idx="205">
                  <c:v>36206</c:v>
                </c:pt>
                <c:pt idx="206">
                  <c:v>36234</c:v>
                </c:pt>
                <c:pt idx="207">
                  <c:v>36265</c:v>
                </c:pt>
                <c:pt idx="208">
                  <c:v>36295</c:v>
                </c:pt>
                <c:pt idx="209">
                  <c:v>36326</c:v>
                </c:pt>
                <c:pt idx="210">
                  <c:v>36356</c:v>
                </c:pt>
                <c:pt idx="211">
                  <c:v>36387</c:v>
                </c:pt>
                <c:pt idx="212">
                  <c:v>36418</c:v>
                </c:pt>
                <c:pt idx="213">
                  <c:v>36448</c:v>
                </c:pt>
                <c:pt idx="214">
                  <c:v>36479</c:v>
                </c:pt>
                <c:pt idx="215">
                  <c:v>36509</c:v>
                </c:pt>
                <c:pt idx="216">
                  <c:v>36540</c:v>
                </c:pt>
                <c:pt idx="217">
                  <c:v>36571</c:v>
                </c:pt>
                <c:pt idx="218">
                  <c:v>36600</c:v>
                </c:pt>
                <c:pt idx="219">
                  <c:v>36631</c:v>
                </c:pt>
                <c:pt idx="220">
                  <c:v>36661</c:v>
                </c:pt>
                <c:pt idx="221">
                  <c:v>36692</c:v>
                </c:pt>
                <c:pt idx="222">
                  <c:v>36722</c:v>
                </c:pt>
                <c:pt idx="223">
                  <c:v>36753</c:v>
                </c:pt>
                <c:pt idx="224">
                  <c:v>36784</c:v>
                </c:pt>
                <c:pt idx="225">
                  <c:v>36814</c:v>
                </c:pt>
                <c:pt idx="226">
                  <c:v>36845</c:v>
                </c:pt>
                <c:pt idx="227">
                  <c:v>36875</c:v>
                </c:pt>
                <c:pt idx="228">
                  <c:v>36906</c:v>
                </c:pt>
                <c:pt idx="229">
                  <c:v>36937</c:v>
                </c:pt>
                <c:pt idx="230">
                  <c:v>36965</c:v>
                </c:pt>
                <c:pt idx="231">
                  <c:v>36996</c:v>
                </c:pt>
                <c:pt idx="232">
                  <c:v>37026</c:v>
                </c:pt>
                <c:pt idx="233">
                  <c:v>37057</c:v>
                </c:pt>
                <c:pt idx="234">
                  <c:v>37087</c:v>
                </c:pt>
                <c:pt idx="235">
                  <c:v>37118</c:v>
                </c:pt>
                <c:pt idx="236">
                  <c:v>37149</c:v>
                </c:pt>
                <c:pt idx="237">
                  <c:v>37179</c:v>
                </c:pt>
                <c:pt idx="238">
                  <c:v>37210</c:v>
                </c:pt>
                <c:pt idx="239">
                  <c:v>37240</c:v>
                </c:pt>
                <c:pt idx="240">
                  <c:v>37271</c:v>
                </c:pt>
                <c:pt idx="241">
                  <c:v>37302</c:v>
                </c:pt>
                <c:pt idx="242">
                  <c:v>37330</c:v>
                </c:pt>
                <c:pt idx="243">
                  <c:v>37361</c:v>
                </c:pt>
                <c:pt idx="244">
                  <c:v>37391</c:v>
                </c:pt>
                <c:pt idx="245">
                  <c:v>37422</c:v>
                </c:pt>
                <c:pt idx="246">
                  <c:v>37452</c:v>
                </c:pt>
                <c:pt idx="247">
                  <c:v>37483</c:v>
                </c:pt>
                <c:pt idx="248">
                  <c:v>37514</c:v>
                </c:pt>
                <c:pt idx="249">
                  <c:v>37544</c:v>
                </c:pt>
                <c:pt idx="250">
                  <c:v>37575</c:v>
                </c:pt>
                <c:pt idx="251">
                  <c:v>37605</c:v>
                </c:pt>
                <c:pt idx="252">
                  <c:v>37636</c:v>
                </c:pt>
                <c:pt idx="253">
                  <c:v>37667</c:v>
                </c:pt>
                <c:pt idx="254">
                  <c:v>37695</c:v>
                </c:pt>
                <c:pt idx="255">
                  <c:v>37726</c:v>
                </c:pt>
                <c:pt idx="256">
                  <c:v>37756</c:v>
                </c:pt>
                <c:pt idx="257">
                  <c:v>37787</c:v>
                </c:pt>
                <c:pt idx="258">
                  <c:v>37817</c:v>
                </c:pt>
                <c:pt idx="259">
                  <c:v>37848</c:v>
                </c:pt>
                <c:pt idx="260">
                  <c:v>37879</c:v>
                </c:pt>
                <c:pt idx="261">
                  <c:v>37909</c:v>
                </c:pt>
                <c:pt idx="262">
                  <c:v>37940</c:v>
                </c:pt>
                <c:pt idx="263">
                  <c:v>37970</c:v>
                </c:pt>
                <c:pt idx="264">
                  <c:v>38001</c:v>
                </c:pt>
                <c:pt idx="265">
                  <c:v>38032</c:v>
                </c:pt>
                <c:pt idx="266">
                  <c:v>38061</c:v>
                </c:pt>
                <c:pt idx="267">
                  <c:v>38092</c:v>
                </c:pt>
                <c:pt idx="268">
                  <c:v>38122</c:v>
                </c:pt>
                <c:pt idx="269">
                  <c:v>38153</c:v>
                </c:pt>
                <c:pt idx="270">
                  <c:v>38183</c:v>
                </c:pt>
                <c:pt idx="271">
                  <c:v>38214</c:v>
                </c:pt>
                <c:pt idx="272">
                  <c:v>38245</c:v>
                </c:pt>
                <c:pt idx="273">
                  <c:v>38275</c:v>
                </c:pt>
                <c:pt idx="274">
                  <c:v>38306</c:v>
                </c:pt>
                <c:pt idx="275">
                  <c:v>38336</c:v>
                </c:pt>
                <c:pt idx="276">
                  <c:v>38367</c:v>
                </c:pt>
                <c:pt idx="277">
                  <c:v>38398</c:v>
                </c:pt>
                <c:pt idx="278">
                  <c:v>38426</c:v>
                </c:pt>
                <c:pt idx="279">
                  <c:v>38457</c:v>
                </c:pt>
                <c:pt idx="280">
                  <c:v>38487</c:v>
                </c:pt>
                <c:pt idx="281">
                  <c:v>38518</c:v>
                </c:pt>
                <c:pt idx="282">
                  <c:v>38548</c:v>
                </c:pt>
                <c:pt idx="283">
                  <c:v>38579</c:v>
                </c:pt>
                <c:pt idx="284">
                  <c:v>38610</c:v>
                </c:pt>
                <c:pt idx="285">
                  <c:v>38640</c:v>
                </c:pt>
                <c:pt idx="286">
                  <c:v>38671</c:v>
                </c:pt>
                <c:pt idx="287">
                  <c:v>38701</c:v>
                </c:pt>
                <c:pt idx="288">
                  <c:v>38732</c:v>
                </c:pt>
                <c:pt idx="289">
                  <c:v>38763</c:v>
                </c:pt>
                <c:pt idx="290">
                  <c:v>38791</c:v>
                </c:pt>
                <c:pt idx="291">
                  <c:v>38822</c:v>
                </c:pt>
                <c:pt idx="292">
                  <c:v>38852</c:v>
                </c:pt>
                <c:pt idx="293">
                  <c:v>38883</c:v>
                </c:pt>
                <c:pt idx="294">
                  <c:v>38913</c:v>
                </c:pt>
                <c:pt idx="295">
                  <c:v>38944</c:v>
                </c:pt>
                <c:pt idx="296">
                  <c:v>38975</c:v>
                </c:pt>
                <c:pt idx="297">
                  <c:v>39005</c:v>
                </c:pt>
                <c:pt idx="298">
                  <c:v>39036</c:v>
                </c:pt>
                <c:pt idx="299">
                  <c:v>39066</c:v>
                </c:pt>
                <c:pt idx="300">
                  <c:v>39097</c:v>
                </c:pt>
                <c:pt idx="301">
                  <c:v>39128</c:v>
                </c:pt>
                <c:pt idx="302">
                  <c:v>39156</c:v>
                </c:pt>
                <c:pt idx="303">
                  <c:v>39187</c:v>
                </c:pt>
                <c:pt idx="304">
                  <c:v>39217</c:v>
                </c:pt>
                <c:pt idx="305">
                  <c:v>39248</c:v>
                </c:pt>
                <c:pt idx="306">
                  <c:v>39278</c:v>
                </c:pt>
                <c:pt idx="307">
                  <c:v>39309</c:v>
                </c:pt>
                <c:pt idx="308">
                  <c:v>39340</c:v>
                </c:pt>
                <c:pt idx="309">
                  <c:v>39370</c:v>
                </c:pt>
                <c:pt idx="310">
                  <c:v>39401</c:v>
                </c:pt>
                <c:pt idx="311">
                  <c:v>39431</c:v>
                </c:pt>
                <c:pt idx="312">
                  <c:v>39462</c:v>
                </c:pt>
                <c:pt idx="313">
                  <c:v>39493</c:v>
                </c:pt>
                <c:pt idx="314">
                  <c:v>39522</c:v>
                </c:pt>
                <c:pt idx="315">
                  <c:v>39553</c:v>
                </c:pt>
                <c:pt idx="316">
                  <c:v>39583</c:v>
                </c:pt>
                <c:pt idx="317">
                  <c:v>39614</c:v>
                </c:pt>
                <c:pt idx="318">
                  <c:v>39644</c:v>
                </c:pt>
                <c:pt idx="319">
                  <c:v>39675</c:v>
                </c:pt>
                <c:pt idx="320">
                  <c:v>39706</c:v>
                </c:pt>
                <c:pt idx="321">
                  <c:v>39736</c:v>
                </c:pt>
                <c:pt idx="322">
                  <c:v>39767</c:v>
                </c:pt>
                <c:pt idx="323">
                  <c:v>39797</c:v>
                </c:pt>
                <c:pt idx="324">
                  <c:v>39828</c:v>
                </c:pt>
                <c:pt idx="325">
                  <c:v>39859</c:v>
                </c:pt>
                <c:pt idx="326">
                  <c:v>39887</c:v>
                </c:pt>
                <c:pt idx="327">
                  <c:v>39918</c:v>
                </c:pt>
                <c:pt idx="328">
                  <c:v>39948</c:v>
                </c:pt>
                <c:pt idx="329">
                  <c:v>39979</c:v>
                </c:pt>
                <c:pt idx="330">
                  <c:v>40009</c:v>
                </c:pt>
                <c:pt idx="331">
                  <c:v>40040</c:v>
                </c:pt>
                <c:pt idx="332">
                  <c:v>40071</c:v>
                </c:pt>
                <c:pt idx="333">
                  <c:v>40101</c:v>
                </c:pt>
                <c:pt idx="334">
                  <c:v>40132</c:v>
                </c:pt>
                <c:pt idx="335">
                  <c:v>40162</c:v>
                </c:pt>
                <c:pt idx="336">
                  <c:v>40193</c:v>
                </c:pt>
                <c:pt idx="337">
                  <c:v>40224</c:v>
                </c:pt>
                <c:pt idx="338">
                  <c:v>40252</c:v>
                </c:pt>
                <c:pt idx="339">
                  <c:v>40283</c:v>
                </c:pt>
                <c:pt idx="340">
                  <c:v>40313</c:v>
                </c:pt>
                <c:pt idx="341">
                  <c:v>40344</c:v>
                </c:pt>
                <c:pt idx="342">
                  <c:v>40374</c:v>
                </c:pt>
                <c:pt idx="343">
                  <c:v>40405</c:v>
                </c:pt>
                <c:pt idx="344">
                  <c:v>40436</c:v>
                </c:pt>
                <c:pt idx="345">
                  <c:v>40466</c:v>
                </c:pt>
                <c:pt idx="346">
                  <c:v>40497</c:v>
                </c:pt>
                <c:pt idx="347">
                  <c:v>40527</c:v>
                </c:pt>
                <c:pt idx="348">
                  <c:v>40558</c:v>
                </c:pt>
                <c:pt idx="349">
                  <c:v>40589</c:v>
                </c:pt>
                <c:pt idx="350">
                  <c:v>40617</c:v>
                </c:pt>
                <c:pt idx="351">
                  <c:v>40648</c:v>
                </c:pt>
                <c:pt idx="352">
                  <c:v>40678</c:v>
                </c:pt>
                <c:pt idx="353">
                  <c:v>40709</c:v>
                </c:pt>
                <c:pt idx="354">
                  <c:v>40739</c:v>
                </c:pt>
                <c:pt idx="355">
                  <c:v>40770</c:v>
                </c:pt>
                <c:pt idx="356">
                  <c:v>40801</c:v>
                </c:pt>
                <c:pt idx="357">
                  <c:v>40831</c:v>
                </c:pt>
                <c:pt idx="358">
                  <c:v>40862</c:v>
                </c:pt>
                <c:pt idx="359">
                  <c:v>40892</c:v>
                </c:pt>
                <c:pt idx="360">
                  <c:v>40923</c:v>
                </c:pt>
                <c:pt idx="361">
                  <c:v>40954</c:v>
                </c:pt>
                <c:pt idx="362">
                  <c:v>40983</c:v>
                </c:pt>
                <c:pt idx="363">
                  <c:v>41014</c:v>
                </c:pt>
                <c:pt idx="364">
                  <c:v>41044</c:v>
                </c:pt>
                <c:pt idx="365">
                  <c:v>41075</c:v>
                </c:pt>
                <c:pt idx="366">
                  <c:v>41105</c:v>
                </c:pt>
                <c:pt idx="367">
                  <c:v>41136</c:v>
                </c:pt>
                <c:pt idx="368">
                  <c:v>41167</c:v>
                </c:pt>
                <c:pt idx="369">
                  <c:v>41197</c:v>
                </c:pt>
                <c:pt idx="370">
                  <c:v>41228</c:v>
                </c:pt>
                <c:pt idx="371">
                  <c:v>41258</c:v>
                </c:pt>
                <c:pt idx="372">
                  <c:v>41289</c:v>
                </c:pt>
                <c:pt idx="373">
                  <c:v>41320</c:v>
                </c:pt>
                <c:pt idx="374">
                  <c:v>41348</c:v>
                </c:pt>
                <c:pt idx="375">
                  <c:v>41379</c:v>
                </c:pt>
                <c:pt idx="376">
                  <c:v>41409</c:v>
                </c:pt>
                <c:pt idx="377">
                  <c:v>41440</c:v>
                </c:pt>
                <c:pt idx="378">
                  <c:v>41470</c:v>
                </c:pt>
                <c:pt idx="379">
                  <c:v>41501</c:v>
                </c:pt>
                <c:pt idx="380">
                  <c:v>41532</c:v>
                </c:pt>
                <c:pt idx="381">
                  <c:v>41562</c:v>
                </c:pt>
                <c:pt idx="382">
                  <c:v>41593</c:v>
                </c:pt>
                <c:pt idx="383">
                  <c:v>41623</c:v>
                </c:pt>
                <c:pt idx="384">
                  <c:v>41654</c:v>
                </c:pt>
                <c:pt idx="385">
                  <c:v>41685</c:v>
                </c:pt>
                <c:pt idx="386">
                  <c:v>41713</c:v>
                </c:pt>
                <c:pt idx="387">
                  <c:v>41744</c:v>
                </c:pt>
                <c:pt idx="388">
                  <c:v>41774</c:v>
                </c:pt>
                <c:pt idx="389">
                  <c:v>41805</c:v>
                </c:pt>
                <c:pt idx="390">
                  <c:v>41835</c:v>
                </c:pt>
                <c:pt idx="391">
                  <c:v>41866</c:v>
                </c:pt>
                <c:pt idx="392">
                  <c:v>41897</c:v>
                </c:pt>
                <c:pt idx="393">
                  <c:v>41927</c:v>
                </c:pt>
                <c:pt idx="394">
                  <c:v>41958</c:v>
                </c:pt>
                <c:pt idx="395">
                  <c:v>41988</c:v>
                </c:pt>
                <c:pt idx="396">
                  <c:v>42019</c:v>
                </c:pt>
                <c:pt idx="397">
                  <c:v>42050</c:v>
                </c:pt>
                <c:pt idx="398">
                  <c:v>42078</c:v>
                </c:pt>
                <c:pt idx="399">
                  <c:v>42109</c:v>
                </c:pt>
                <c:pt idx="400">
                  <c:v>42139</c:v>
                </c:pt>
                <c:pt idx="401">
                  <c:v>42170</c:v>
                </c:pt>
                <c:pt idx="402">
                  <c:v>42200</c:v>
                </c:pt>
                <c:pt idx="403">
                  <c:v>42231</c:v>
                </c:pt>
                <c:pt idx="404">
                  <c:v>42262</c:v>
                </c:pt>
                <c:pt idx="405">
                  <c:v>42292</c:v>
                </c:pt>
                <c:pt idx="406">
                  <c:v>42323</c:v>
                </c:pt>
                <c:pt idx="407">
                  <c:v>42353</c:v>
                </c:pt>
                <c:pt idx="408">
                  <c:v>42384</c:v>
                </c:pt>
                <c:pt idx="409">
                  <c:v>42415</c:v>
                </c:pt>
                <c:pt idx="410">
                  <c:v>42444</c:v>
                </c:pt>
                <c:pt idx="411">
                  <c:v>42475</c:v>
                </c:pt>
                <c:pt idx="412">
                  <c:v>42505</c:v>
                </c:pt>
                <c:pt idx="413">
                  <c:v>42536</c:v>
                </c:pt>
                <c:pt idx="414">
                  <c:v>42566</c:v>
                </c:pt>
                <c:pt idx="415">
                  <c:v>42597</c:v>
                </c:pt>
                <c:pt idx="416">
                  <c:v>42628</c:v>
                </c:pt>
                <c:pt idx="417">
                  <c:v>42658</c:v>
                </c:pt>
                <c:pt idx="418">
                  <c:v>42689</c:v>
                </c:pt>
                <c:pt idx="419">
                  <c:v>42719</c:v>
                </c:pt>
                <c:pt idx="420">
                  <c:v>42750</c:v>
                </c:pt>
                <c:pt idx="421">
                  <c:v>42781</c:v>
                </c:pt>
                <c:pt idx="422">
                  <c:v>42809</c:v>
                </c:pt>
                <c:pt idx="423">
                  <c:v>42840</c:v>
                </c:pt>
                <c:pt idx="424">
                  <c:v>42870</c:v>
                </c:pt>
                <c:pt idx="425">
                  <c:v>42901</c:v>
                </c:pt>
                <c:pt idx="426">
                  <c:v>42931</c:v>
                </c:pt>
                <c:pt idx="427">
                  <c:v>42962</c:v>
                </c:pt>
                <c:pt idx="428">
                  <c:v>42993</c:v>
                </c:pt>
                <c:pt idx="429">
                  <c:v>43023</c:v>
                </c:pt>
                <c:pt idx="430">
                  <c:v>43054</c:v>
                </c:pt>
                <c:pt idx="431">
                  <c:v>43084</c:v>
                </c:pt>
                <c:pt idx="432">
                  <c:v>43115</c:v>
                </c:pt>
                <c:pt idx="433">
                  <c:v>43146</c:v>
                </c:pt>
                <c:pt idx="434">
                  <c:v>43174</c:v>
                </c:pt>
                <c:pt idx="435">
                  <c:v>43205</c:v>
                </c:pt>
                <c:pt idx="436">
                  <c:v>43235</c:v>
                </c:pt>
                <c:pt idx="437">
                  <c:v>43266</c:v>
                </c:pt>
                <c:pt idx="438">
                  <c:v>43296</c:v>
                </c:pt>
                <c:pt idx="439">
                  <c:v>43327</c:v>
                </c:pt>
                <c:pt idx="440">
                  <c:v>43358</c:v>
                </c:pt>
                <c:pt idx="441">
                  <c:v>43388</c:v>
                </c:pt>
                <c:pt idx="442">
                  <c:v>43419</c:v>
                </c:pt>
                <c:pt idx="443">
                  <c:v>43449</c:v>
                </c:pt>
                <c:pt idx="444">
                  <c:v>43480</c:v>
                </c:pt>
                <c:pt idx="445">
                  <c:v>43511</c:v>
                </c:pt>
                <c:pt idx="446">
                  <c:v>43539</c:v>
                </c:pt>
                <c:pt idx="447">
                  <c:v>43570</c:v>
                </c:pt>
                <c:pt idx="448">
                  <c:v>43600</c:v>
                </c:pt>
                <c:pt idx="449">
                  <c:v>43631</c:v>
                </c:pt>
                <c:pt idx="450">
                  <c:v>43661</c:v>
                </c:pt>
                <c:pt idx="451">
                  <c:v>43692</c:v>
                </c:pt>
                <c:pt idx="452">
                  <c:v>43723</c:v>
                </c:pt>
                <c:pt idx="453">
                  <c:v>43753</c:v>
                </c:pt>
                <c:pt idx="454">
                  <c:v>43784</c:v>
                </c:pt>
                <c:pt idx="455">
                  <c:v>43814</c:v>
                </c:pt>
                <c:pt idx="456">
                  <c:v>43845</c:v>
                </c:pt>
                <c:pt idx="457">
                  <c:v>43876</c:v>
                </c:pt>
                <c:pt idx="458">
                  <c:v>43905</c:v>
                </c:pt>
                <c:pt idx="459">
                  <c:v>43936</c:v>
                </c:pt>
                <c:pt idx="460">
                  <c:v>43966</c:v>
                </c:pt>
                <c:pt idx="461">
                  <c:v>43997</c:v>
                </c:pt>
                <c:pt idx="462">
                  <c:v>44027</c:v>
                </c:pt>
                <c:pt idx="463">
                  <c:v>44058</c:v>
                </c:pt>
                <c:pt idx="464">
                  <c:v>44089</c:v>
                </c:pt>
                <c:pt idx="465">
                  <c:v>44119</c:v>
                </c:pt>
                <c:pt idx="466">
                  <c:v>44150</c:v>
                </c:pt>
                <c:pt idx="467">
                  <c:v>44180</c:v>
                </c:pt>
                <c:pt idx="468">
                  <c:v>44211</c:v>
                </c:pt>
                <c:pt idx="469">
                  <c:v>44242</c:v>
                </c:pt>
                <c:pt idx="470">
                  <c:v>44270</c:v>
                </c:pt>
                <c:pt idx="471">
                  <c:v>44301</c:v>
                </c:pt>
                <c:pt idx="472">
                  <c:v>44331</c:v>
                </c:pt>
                <c:pt idx="473">
                  <c:v>44362</c:v>
                </c:pt>
                <c:pt idx="474">
                  <c:v>44392</c:v>
                </c:pt>
                <c:pt idx="475">
                  <c:v>44423</c:v>
                </c:pt>
                <c:pt idx="476">
                  <c:v>44454</c:v>
                </c:pt>
                <c:pt idx="477">
                  <c:v>44484</c:v>
                </c:pt>
                <c:pt idx="478">
                  <c:v>44515</c:v>
                </c:pt>
                <c:pt idx="479">
                  <c:v>44545</c:v>
                </c:pt>
              </c:numCache>
            </c:numRef>
          </c:cat>
          <c:val>
            <c:numRef>
              <c:f>PPI_1980!$J$35:$J$514</c:f>
              <c:numCache>
                <c:formatCode>General</c:formatCode>
                <c:ptCount val="480"/>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formatCode="0.0">
                  <c:v>11.258278145695378</c:v>
                </c:pt>
                <c:pt idx="229" formatCode="0.0">
                  <c:v>10.491803278688527</c:v>
                </c:pt>
                <c:pt idx="230" formatCode="0.0">
                  <c:v>8.5483870967741904</c:v>
                </c:pt>
                <c:pt idx="231" formatCode="0.0">
                  <c:v>9.886547811993518</c:v>
                </c:pt>
                <c:pt idx="232" formatCode="0.0">
                  <c:v>8.0824088748018941</c:v>
                </c:pt>
                <c:pt idx="233" formatCode="0.0">
                  <c:v>6.7292644757433573</c:v>
                </c:pt>
                <c:pt idx="234" formatCode="0.0">
                  <c:v>3.240740740740744</c:v>
                </c:pt>
                <c:pt idx="235" formatCode="0.0">
                  <c:v>1.3740458015267354</c:v>
                </c:pt>
                <c:pt idx="236" formatCode="0.0">
                  <c:v>-1.9061583577712593</c:v>
                </c:pt>
                <c:pt idx="237" formatCode="0.0">
                  <c:v>-6.4655172413793149</c:v>
                </c:pt>
                <c:pt idx="238" formatCode="0.0">
                  <c:v>-8.177905308464851</c:v>
                </c:pt>
                <c:pt idx="239" formatCode="0.0">
                  <c:v>-6.047197640117985</c:v>
                </c:pt>
                <c:pt idx="240" formatCode="0.0">
                  <c:v>-4.7619047619047672</c:v>
                </c:pt>
                <c:pt idx="241" formatCode="0.0">
                  <c:v>-4.8961424332344405</c:v>
                </c:pt>
                <c:pt idx="242" formatCode="0.0">
                  <c:v>-3.5661218424962726</c:v>
                </c:pt>
                <c:pt idx="243" formatCode="0.0">
                  <c:v>-3.6873156342182911</c:v>
                </c:pt>
                <c:pt idx="244" formatCode="0.0">
                  <c:v>-4.5454545454545521</c:v>
                </c:pt>
                <c:pt idx="245" formatCode="0.0">
                  <c:v>-5.4252199413489794</c:v>
                </c:pt>
                <c:pt idx="246" formatCode="0.0">
                  <c:v>-3.5874439461883512</c:v>
                </c:pt>
                <c:pt idx="247" formatCode="0.0">
                  <c:v>-2.5602409638554202</c:v>
                </c:pt>
                <c:pt idx="248" formatCode="0.0">
                  <c:v>-1.9431988041853643</c:v>
                </c:pt>
                <c:pt idx="249" formatCode="0.0">
                  <c:v>1.8433179723502446</c:v>
                </c:pt>
                <c:pt idx="250" formatCode="0.0">
                  <c:v>1.8750000000000044</c:v>
                </c:pt>
                <c:pt idx="251" formatCode="0.0">
                  <c:v>3.296703296703285</c:v>
                </c:pt>
                <c:pt idx="252" formatCode="0.0">
                  <c:v>6.4062499999999911</c:v>
                </c:pt>
                <c:pt idx="253" formatCode="0.0">
                  <c:v>7.9563182527301324</c:v>
                </c:pt>
                <c:pt idx="254" formatCode="0.0">
                  <c:v>7.5500770416024432</c:v>
                </c:pt>
                <c:pt idx="255" formatCode="0.0">
                  <c:v>3.0627871362940207</c:v>
                </c:pt>
                <c:pt idx="256" formatCode="0.0">
                  <c:v>1.3824884792626779</c:v>
                </c:pt>
                <c:pt idx="257" formatCode="0.0">
                  <c:v>2.7906976744185963</c:v>
                </c:pt>
                <c:pt idx="258" formatCode="0.0">
                  <c:v>3.4108527131782918</c:v>
                </c:pt>
                <c:pt idx="259" formatCode="0.0">
                  <c:v>4.3276661514683123</c:v>
                </c:pt>
                <c:pt idx="260" formatCode="0.0">
                  <c:v>1.8292682926829285</c:v>
                </c:pt>
                <c:pt idx="261" formatCode="0.0">
                  <c:v>1.0558069381598756</c:v>
                </c:pt>
                <c:pt idx="262" formatCode="0.0">
                  <c:v>3.0674846625766916</c:v>
                </c:pt>
                <c:pt idx="263" formatCode="0.0">
                  <c:v>1.6717325227963764</c:v>
                </c:pt>
                <c:pt idx="264" formatCode="0.0">
                  <c:v>-1.7621145374449143</c:v>
                </c:pt>
                <c:pt idx="265" formatCode="0.0">
                  <c:v>-3.7572254335260236</c:v>
                </c:pt>
                <c:pt idx="266" formatCode="0.0">
                  <c:v>-3.2951289398280736</c:v>
                </c:pt>
                <c:pt idx="267" formatCode="0.0">
                  <c:v>0.89153046062409036</c:v>
                </c:pt>
                <c:pt idx="268" formatCode="0.0">
                  <c:v>5.6060606060606144</c:v>
                </c:pt>
                <c:pt idx="269" formatCode="0.0">
                  <c:v>4.5248868778280604</c:v>
                </c:pt>
                <c:pt idx="270" formatCode="0.0">
                  <c:v>5.0974512743628075</c:v>
                </c:pt>
                <c:pt idx="271" formatCode="0.0">
                  <c:v>5.6296296296296289</c:v>
                </c:pt>
                <c:pt idx="272" formatCode="0.0">
                  <c:v>7.3353293413173759</c:v>
                </c:pt>
                <c:pt idx="273" formatCode="0.0">
                  <c:v>10.298507462686569</c:v>
                </c:pt>
                <c:pt idx="274" formatCode="0.0">
                  <c:v>8.4821428571428612</c:v>
                </c:pt>
                <c:pt idx="275" formatCode="0.0">
                  <c:v>7.3243647234678466</c:v>
                </c:pt>
                <c:pt idx="276" formatCode="0.0">
                  <c:v>9.4170403587443996</c:v>
                </c:pt>
                <c:pt idx="277" formatCode="0.0">
                  <c:v>10.810810810810811</c:v>
                </c:pt>
                <c:pt idx="278" formatCode="0.0">
                  <c:v>12.444444444444457</c:v>
                </c:pt>
                <c:pt idx="279" formatCode="0.0">
                  <c:v>13.84388807069219</c:v>
                </c:pt>
                <c:pt idx="280" formatCode="0.0">
                  <c:v>10.186513629842175</c:v>
                </c:pt>
                <c:pt idx="281" formatCode="0.0">
                  <c:v>13.564213564213578</c:v>
                </c:pt>
                <c:pt idx="282" formatCode="0.0">
                  <c:v>15.263908701854501</c:v>
                </c:pt>
                <c:pt idx="283" formatCode="0.0">
                  <c:v>15.147265077138838</c:v>
                </c:pt>
                <c:pt idx="284" formatCode="0.0">
                  <c:v>16.596931659693158</c:v>
                </c:pt>
                <c:pt idx="285" formatCode="0.0">
                  <c:v>15.020297699594032</c:v>
                </c:pt>
                <c:pt idx="286" formatCode="0.0">
                  <c:v>14.677640603566511</c:v>
                </c:pt>
                <c:pt idx="287" formatCode="0.0">
                  <c:v>16.713091922005564</c:v>
                </c:pt>
                <c:pt idx="288" formatCode="0.0">
                  <c:v>18.715846994535525</c:v>
                </c:pt>
                <c:pt idx="289" formatCode="0.0">
                  <c:v>19.37669376693767</c:v>
                </c:pt>
                <c:pt idx="290" formatCode="0.0">
                  <c:v>17.25955204216072</c:v>
                </c:pt>
                <c:pt idx="291" formatCode="0.0">
                  <c:v>17.335058214747747</c:v>
                </c:pt>
                <c:pt idx="292" formatCode="0.0">
                  <c:v>18.619791666666675</c:v>
                </c:pt>
                <c:pt idx="293" formatCode="0.0">
                  <c:v>15.756035578144845</c:v>
                </c:pt>
                <c:pt idx="294" formatCode="0.0">
                  <c:v>14.727722772277229</c:v>
                </c:pt>
                <c:pt idx="295" formatCode="0.0">
                  <c:v>12.911084043848975</c:v>
                </c:pt>
                <c:pt idx="296" formatCode="0.0">
                  <c:v>7.7751196172248793</c:v>
                </c:pt>
                <c:pt idx="297" formatCode="0.0">
                  <c:v>4.705882352941182</c:v>
                </c:pt>
                <c:pt idx="298" formatCode="0.0">
                  <c:v>5.8612440191387671</c:v>
                </c:pt>
                <c:pt idx="299" formatCode="0.0">
                  <c:v>5.3699284009546489</c:v>
                </c:pt>
                <c:pt idx="300" formatCode="0.0">
                  <c:v>0.9205983889528202</c:v>
                </c:pt>
                <c:pt idx="301" formatCode="0.0">
                  <c:v>-0.22701475595912068</c:v>
                </c:pt>
                <c:pt idx="302" formatCode="0.0">
                  <c:v>-0.56179775280899014</c:v>
                </c:pt>
                <c:pt idx="303" formatCode="0.0">
                  <c:v>-1.8743109151047488</c:v>
                </c:pt>
                <c:pt idx="304" formatCode="0.0">
                  <c:v>-1.3172338090010838</c:v>
                </c:pt>
                <c:pt idx="305" formatCode="0.0">
                  <c:v>-1.0976948408342513</c:v>
                </c:pt>
                <c:pt idx="306" formatCode="0.0">
                  <c:v>-2.265372168284796</c:v>
                </c:pt>
                <c:pt idx="307" formatCode="0.0">
                  <c:v>-2.3732470334412059</c:v>
                </c:pt>
                <c:pt idx="308" formatCode="0.0">
                  <c:v>1.4428412874583962</c:v>
                </c:pt>
                <c:pt idx="309" formatCode="0.0">
                  <c:v>4.6067415730337125</c:v>
                </c:pt>
                <c:pt idx="310" formatCode="0.0">
                  <c:v>8.9265536723163841</c:v>
                </c:pt>
                <c:pt idx="311" formatCode="0.0">
                  <c:v>9.6262740656851697</c:v>
                </c:pt>
                <c:pt idx="312" formatCode="0.0">
                  <c:v>11.630558722919048</c:v>
                </c:pt>
                <c:pt idx="313" formatCode="0.0">
                  <c:v>12.514220705346979</c:v>
                </c:pt>
                <c:pt idx="314" formatCode="0.0">
                  <c:v>13.446327683615822</c:v>
                </c:pt>
                <c:pt idx="315" formatCode="0.0">
                  <c:v>14.831460674157304</c:v>
                </c:pt>
                <c:pt idx="316" formatCode="0.0">
                  <c:v>18.131256952169061</c:v>
                </c:pt>
                <c:pt idx="317" formatCode="0.0">
                  <c:v>21.198668146503884</c:v>
                </c:pt>
                <c:pt idx="318" formatCode="0.0">
                  <c:v>24.392935982339957</c:v>
                </c:pt>
                <c:pt idx="319" formatCode="0.0">
                  <c:v>21.988950276243102</c:v>
                </c:pt>
                <c:pt idx="320" formatCode="0.0">
                  <c:v>19.365426695842448</c:v>
                </c:pt>
                <c:pt idx="321" formatCode="0.0">
                  <c:v>13.748657357679917</c:v>
                </c:pt>
                <c:pt idx="322" formatCode="0.0">
                  <c:v>3.8381742738589075</c:v>
                </c:pt>
                <c:pt idx="323" formatCode="0.0">
                  <c:v>-1.0330578512396715</c:v>
                </c:pt>
                <c:pt idx="324" formatCode="0.0">
                  <c:v>-3.4729315628192037</c:v>
                </c:pt>
                <c:pt idx="325" formatCode="0.0">
                  <c:v>-5.1567239635996076</c:v>
                </c:pt>
                <c:pt idx="326" formatCode="0.0">
                  <c:v>-8.2669322709163495</c:v>
                </c:pt>
                <c:pt idx="327" formatCode="0.0">
                  <c:v>-11.937377690802354</c:v>
                </c:pt>
                <c:pt idx="328" formatCode="0.0">
                  <c:v>-14.500941619585694</c:v>
                </c:pt>
                <c:pt idx="329" formatCode="0.0">
                  <c:v>-15.384615384615385</c:v>
                </c:pt>
                <c:pt idx="330" formatCode="0.0">
                  <c:v>-19.875776397515533</c:v>
                </c:pt>
                <c:pt idx="331" formatCode="0.0">
                  <c:v>-16.84782608695653</c:v>
                </c:pt>
                <c:pt idx="332" formatCode="0.0">
                  <c:v>-17.048579285059574</c:v>
                </c:pt>
                <c:pt idx="333" formatCode="0.0">
                  <c:v>-13.597733711048166</c:v>
                </c:pt>
                <c:pt idx="334" formatCode="0.0">
                  <c:v>-7.7922077922077948</c:v>
                </c:pt>
                <c:pt idx="335" formatCode="0.0">
                  <c:v>-3.6534446764091899</c:v>
                </c:pt>
                <c:pt idx="336" formatCode="0.0">
                  <c:v>-0.10582010582009804</c:v>
                </c:pt>
                <c:pt idx="337" formatCode="0.0">
                  <c:v>0.95948827292111627</c:v>
                </c:pt>
                <c:pt idx="338" formatCode="0.0">
                  <c:v>4.0173724212812179</c:v>
                </c:pt>
                <c:pt idx="339" formatCode="0.0">
                  <c:v>8.333333333333325</c:v>
                </c:pt>
                <c:pt idx="340" formatCode="0.0">
                  <c:v>7.819383259911894</c:v>
                </c:pt>
                <c:pt idx="341" formatCode="0.0">
                  <c:v>6.7099567099566881</c:v>
                </c:pt>
                <c:pt idx="342" formatCode="0.0">
                  <c:v>9.7452934662237034</c:v>
                </c:pt>
                <c:pt idx="343" formatCode="0.0">
                  <c:v>7.734204793028332</c:v>
                </c:pt>
                <c:pt idx="344" formatCode="0.0">
                  <c:v>9.3922651933701751</c:v>
                </c:pt>
                <c:pt idx="345" formatCode="0.0">
                  <c:v>8.0874316939890676</c:v>
                </c:pt>
                <c:pt idx="346" formatCode="0.0">
                  <c:v>8.234019501625145</c:v>
                </c:pt>
                <c:pt idx="347" formatCode="0.0">
                  <c:v>10.400866738894909</c:v>
                </c:pt>
                <c:pt idx="348" formatCode="0.0">
                  <c:v>10.381355932203395</c:v>
                </c:pt>
                <c:pt idx="349" formatCode="0.0">
                  <c:v>10.87645195353748</c:v>
                </c:pt>
                <c:pt idx="350" formatCode="0.0">
                  <c:v>11.69102296450939</c:v>
                </c:pt>
                <c:pt idx="351" formatCode="0.0">
                  <c:v>11.897435897435882</c:v>
                </c:pt>
                <c:pt idx="352" formatCode="0.0">
                  <c:v>10.725229826353422</c:v>
                </c:pt>
                <c:pt idx="353" formatCode="0.0">
                  <c:v>9.7363083164300193</c:v>
                </c:pt>
                <c:pt idx="354" formatCode="0.0">
                  <c:v>10.898082744702343</c:v>
                </c:pt>
                <c:pt idx="355" formatCode="0.0">
                  <c:v>10.717896865520714</c:v>
                </c:pt>
                <c:pt idx="356" formatCode="0.0">
                  <c:v>11.515151515151523</c:v>
                </c:pt>
                <c:pt idx="357" formatCode="0.0">
                  <c:v>12.23458038422649</c:v>
                </c:pt>
                <c:pt idx="358" formatCode="0.0">
                  <c:v>12.312312312312311</c:v>
                </c:pt>
                <c:pt idx="359" formatCode="0.0">
                  <c:v>9.6172718351324793</c:v>
                </c:pt>
                <c:pt idx="360" formatCode="0.0">
                  <c:v>10.076775431861806</c:v>
                </c:pt>
                <c:pt idx="361" formatCode="0.0">
                  <c:v>10.38095238095238</c:v>
                </c:pt>
                <c:pt idx="362" formatCode="0.0">
                  <c:v>9.5327102803738342</c:v>
                </c:pt>
                <c:pt idx="363" formatCode="0.0">
                  <c:v>7.6076993583868102</c:v>
                </c:pt>
                <c:pt idx="364" formatCode="0.0">
                  <c:v>7.1955719557195597</c:v>
                </c:pt>
                <c:pt idx="365" formatCode="0.0">
                  <c:v>6.0073937153419577</c:v>
                </c:pt>
                <c:pt idx="366" formatCode="0.0">
                  <c:v>5.6414922656960798</c:v>
                </c:pt>
                <c:pt idx="367" formatCode="0.0">
                  <c:v>8.7671232876712182</c:v>
                </c:pt>
                <c:pt idx="368" formatCode="0.0">
                  <c:v>7.51811594202898</c:v>
                </c:pt>
                <c:pt idx="369" formatCode="0.0">
                  <c:v>6.2162162162162193</c:v>
                </c:pt>
                <c:pt idx="370" formatCode="0.0">
                  <c:v>4.5454545454545414</c:v>
                </c:pt>
                <c:pt idx="371" formatCode="0.0">
                  <c:v>4.2076991942703756</c:v>
                </c:pt>
                <c:pt idx="372" formatCode="0.0">
                  <c:v>1.9180470793374038</c:v>
                </c:pt>
                <c:pt idx="373" formatCode="0.0">
                  <c:v>1.380500431406384</c:v>
                </c:pt>
                <c:pt idx="374" formatCode="0.0">
                  <c:v>-0.76791808873720724</c:v>
                </c:pt>
                <c:pt idx="375" formatCode="0.0">
                  <c:v>-2.8109028960817795</c:v>
                </c:pt>
                <c:pt idx="376" formatCode="0.0">
                  <c:v>-2.4956970740103279</c:v>
                </c:pt>
                <c:pt idx="377" formatCode="0.0">
                  <c:v>-1.1333914559720992</c:v>
                </c:pt>
                <c:pt idx="378" formatCode="0.0">
                  <c:v>-1.5503875968992276</c:v>
                </c:pt>
                <c:pt idx="379" formatCode="0.0">
                  <c:v>-3.9462636439966281</c:v>
                </c:pt>
                <c:pt idx="380" formatCode="0.0">
                  <c:v>-3.1171019376579623</c:v>
                </c:pt>
                <c:pt idx="381" formatCode="0.0">
                  <c:v>-3.8167938931297662</c:v>
                </c:pt>
                <c:pt idx="382" formatCode="0.0">
                  <c:v>-3.2395566922421071</c:v>
                </c:pt>
                <c:pt idx="383" formatCode="0.0">
                  <c:v>-1.8900343642611728</c:v>
                </c:pt>
                <c:pt idx="384" formatCode="0.0">
                  <c:v>-3.5072711719418392</c:v>
                </c:pt>
                <c:pt idx="385" formatCode="0.0">
                  <c:v>-4.7659574468085104</c:v>
                </c:pt>
                <c:pt idx="386" formatCode="0.0">
                  <c:v>-4.5571797076526259</c:v>
                </c:pt>
                <c:pt idx="387" formatCode="0.0">
                  <c:v>-3.5056967572305031</c:v>
                </c:pt>
                <c:pt idx="388" formatCode="0.0">
                  <c:v>-3.0008826125330956</c:v>
                </c:pt>
                <c:pt idx="389" formatCode="0.0">
                  <c:v>-2.3809523809523836</c:v>
                </c:pt>
                <c:pt idx="390" formatCode="0.0">
                  <c:v>-4.1119860017497789</c:v>
                </c:pt>
                <c:pt idx="391" formatCode="0.0">
                  <c:v>-5.0699300699300842</c:v>
                </c:pt>
                <c:pt idx="392" formatCode="0.0">
                  <c:v>-4.5217391304347876</c:v>
                </c:pt>
                <c:pt idx="393" formatCode="0.0">
                  <c:v>-4.1446208112874805</c:v>
                </c:pt>
                <c:pt idx="394" formatCode="0.0">
                  <c:v>-5.1982378854625644</c:v>
                </c:pt>
                <c:pt idx="395" formatCode="0.0">
                  <c:v>-8.9316987740805658</c:v>
                </c:pt>
                <c:pt idx="396" formatCode="0.0">
                  <c:v>-11.170212765957444</c:v>
                </c:pt>
                <c:pt idx="397" formatCode="0.0">
                  <c:v>-8.4897229669347656</c:v>
                </c:pt>
                <c:pt idx="398" formatCode="0.0">
                  <c:v>-7.3873873873873901</c:v>
                </c:pt>
                <c:pt idx="399" formatCode="0.0">
                  <c:v>-6.9936421435058964</c:v>
                </c:pt>
                <c:pt idx="400" formatCode="0.0">
                  <c:v>-6.9153776160145615</c:v>
                </c:pt>
                <c:pt idx="401" formatCode="0.0">
                  <c:v>-7.4977416440831002</c:v>
                </c:pt>
                <c:pt idx="402" formatCode="0.0">
                  <c:v>-7.2992700729927034</c:v>
                </c:pt>
                <c:pt idx="403" formatCode="0.0">
                  <c:v>-9.1160220994475072</c:v>
                </c:pt>
                <c:pt idx="404" formatCode="0.0">
                  <c:v>-10.837887067395258</c:v>
                </c:pt>
                <c:pt idx="405" formatCode="0.0">
                  <c:v>-10.303587856485741</c:v>
                </c:pt>
                <c:pt idx="406" formatCode="0.0">
                  <c:v>-9.6654275092936786</c:v>
                </c:pt>
                <c:pt idx="407" formatCode="0.0">
                  <c:v>-9.0384615384615401</c:v>
                </c:pt>
                <c:pt idx="408" formatCode="0.0">
                  <c:v>-9.1816367265469054</c:v>
                </c:pt>
                <c:pt idx="409" formatCode="0.0">
                  <c:v>-12.792968750000011</c:v>
                </c:pt>
                <c:pt idx="410" formatCode="0.0">
                  <c:v>-11.964980544747084</c:v>
                </c:pt>
                <c:pt idx="411" formatCode="0.0">
                  <c:v>-12.890625</c:v>
                </c:pt>
                <c:pt idx="412" formatCode="0.0">
                  <c:v>-11.241446725317694</c:v>
                </c:pt>
                <c:pt idx="413" formatCode="0.0">
                  <c:v>-9.0820312500000107</c:v>
                </c:pt>
                <c:pt idx="414" formatCode="0.0">
                  <c:v>-7.6771653543307057</c:v>
                </c:pt>
                <c:pt idx="415" formatCode="0.0">
                  <c:v>-5.5724417426545099</c:v>
                </c:pt>
                <c:pt idx="416" formatCode="0.0">
                  <c:v>-4.3922369765066467</c:v>
                </c:pt>
                <c:pt idx="417" formatCode="0.0">
                  <c:v>-1.6410256410256396</c:v>
                </c:pt>
                <c:pt idx="418" formatCode="0.0">
                  <c:v>-1.0288065843621408</c:v>
                </c:pt>
                <c:pt idx="419" formatCode="0.0">
                  <c:v>4.228329809725162</c:v>
                </c:pt>
                <c:pt idx="420" formatCode="0.0">
                  <c:v>11.098901098901081</c:v>
                </c:pt>
                <c:pt idx="421" formatCode="0.0">
                  <c:v>12.094064949608052</c:v>
                </c:pt>
                <c:pt idx="422" formatCode="0.0">
                  <c:v>8.287292817679548</c:v>
                </c:pt>
                <c:pt idx="423" formatCode="0.0">
                  <c:v>9.3049327354260072</c:v>
                </c:pt>
                <c:pt idx="424" formatCode="0.0">
                  <c:v>5.9471365638766649</c:v>
                </c:pt>
                <c:pt idx="425" formatCode="0.0">
                  <c:v>2.4704618689581181</c:v>
                </c:pt>
                <c:pt idx="426" formatCode="0.0">
                  <c:v>1.8123667377398789</c:v>
                </c:pt>
                <c:pt idx="427" formatCode="0.0">
                  <c:v>3.3261802575107247</c:v>
                </c:pt>
                <c:pt idx="428" formatCode="0.0">
                  <c:v>4.1666666666666741</c:v>
                </c:pt>
                <c:pt idx="429" formatCode="0.0">
                  <c:v>2.9197080291970767</c:v>
                </c:pt>
                <c:pt idx="430" formatCode="0.0">
                  <c:v>5.1975051975051922</c:v>
                </c:pt>
                <c:pt idx="431" formatCode="0.0">
                  <c:v>2.8397565922920975</c:v>
                </c:pt>
                <c:pt idx="432" formatCode="0.0">
                  <c:v>0.98911968348169843</c:v>
                </c:pt>
                <c:pt idx="433" formatCode="0.0">
                  <c:v>1.7982017982018039</c:v>
                </c:pt>
                <c:pt idx="434" formatCode="0.0">
                  <c:v>3.6734693877551017</c:v>
                </c:pt>
                <c:pt idx="435" formatCode="0.0">
                  <c:v>3.6923076923076836</c:v>
                </c:pt>
                <c:pt idx="436" formatCode="0.0">
                  <c:v>8.0041580041580129</c:v>
                </c:pt>
                <c:pt idx="437" formatCode="0.0">
                  <c:v>9.9580712788259973</c:v>
                </c:pt>
                <c:pt idx="438" formatCode="0.0">
                  <c:v>12.460732984293198</c:v>
                </c:pt>
                <c:pt idx="439" formatCode="0.0">
                  <c:v>12.772585669781922</c:v>
                </c:pt>
                <c:pt idx="440" formatCode="0.0">
                  <c:v>13.435897435897438</c:v>
                </c:pt>
                <c:pt idx="441" formatCode="0.0">
                  <c:v>14.994934143870321</c:v>
                </c:pt>
                <c:pt idx="442" formatCode="0.0">
                  <c:v>11.166007905138331</c:v>
                </c:pt>
                <c:pt idx="443" formatCode="0.0">
                  <c:v>8.1854043392504785</c:v>
                </c:pt>
                <c:pt idx="444" formatCode="0.0">
                  <c:v>7.8354554358472051</c:v>
                </c:pt>
                <c:pt idx="445" formatCode="0.0">
                  <c:v>7.9489695780176506</c:v>
                </c:pt>
                <c:pt idx="446" formatCode="0.0">
                  <c:v>7.5787401574803237</c:v>
                </c:pt>
                <c:pt idx="447" formatCode="0.0">
                  <c:v>6.3303659742828922</c:v>
                </c:pt>
                <c:pt idx="448" formatCode="0.0">
                  <c:v>2.9836381135707413</c:v>
                </c:pt>
                <c:pt idx="449" formatCode="0.0">
                  <c:v>-0.28598665395616063</c:v>
                </c:pt>
                <c:pt idx="450" formatCode="0.0">
                  <c:v>-1.8621973929236479</c:v>
                </c:pt>
                <c:pt idx="451" formatCode="0.0">
                  <c:v>-4.7882136279926213</c:v>
                </c:pt>
                <c:pt idx="452" formatCode="0.0">
                  <c:v>-6.0578661844484571</c:v>
                </c:pt>
                <c:pt idx="453" formatCode="0.0">
                  <c:v>-7.8414096916299636</c:v>
                </c:pt>
                <c:pt idx="454" formatCode="0.0">
                  <c:v>-6.0444444444444407</c:v>
                </c:pt>
                <c:pt idx="455" formatCode="0.0">
                  <c:v>-4.1020966271649968</c:v>
                </c:pt>
                <c:pt idx="456" formatCode="0.0">
                  <c:v>-4.3596730245231585</c:v>
                </c:pt>
                <c:pt idx="457" formatCode="0.0">
                  <c:v>-6.7272727272727373</c:v>
                </c:pt>
                <c:pt idx="458" formatCode="0.0">
                  <c:v>-11.161939615736504</c:v>
                </c:pt>
                <c:pt idx="459" formatCode="0.0">
                  <c:v>-16.372093023255808</c:v>
                </c:pt>
                <c:pt idx="460" formatCode="0.0">
                  <c:v>-17.289719626168221</c:v>
                </c:pt>
                <c:pt idx="461" formatCode="0.0">
                  <c:v>-12.810707456978964</c:v>
                </c:pt>
                <c:pt idx="462" formatCode="0.0">
                  <c:v>-10.91081593927894</c:v>
                </c:pt>
                <c:pt idx="463" formatCode="0.0">
                  <c:v>-8.7040618955512521</c:v>
                </c:pt>
                <c:pt idx="464" formatCode="0.0">
                  <c:v>-8.2771896053898004</c:v>
                </c:pt>
                <c:pt idx="465" formatCode="0.0">
                  <c:v>-7.7437858508604185</c:v>
                </c:pt>
                <c:pt idx="466" formatCode="0.0">
                  <c:v>-7.5685903500473</c:v>
                </c:pt>
                <c:pt idx="467" formatCode="0.0">
                  <c:v>-4.8479087452471532</c:v>
                </c:pt>
                <c:pt idx="468" formatCode="0.0">
                  <c:v>-0.66476733143400191</c:v>
                </c:pt>
                <c:pt idx="469" formatCode="0.0">
                  <c:v>2.3391812865497075</c:v>
                </c:pt>
                <c:pt idx="470" formatCode="0.0">
                  <c:v>10.298661174047385</c:v>
                </c:pt>
                <c:pt idx="471" formatCode="0.0">
                  <c:v>20.578420467185765</c:v>
                </c:pt>
                <c:pt idx="472" formatCode="0.0">
                  <c:v>25.084745762711869</c:v>
                </c:pt>
                <c:pt idx="473" formatCode="0.0">
                  <c:v>25.548245614035082</c:v>
                </c:pt>
                <c:pt idx="474" formatCode="0.0">
                  <c:v>28.8604898828541</c:v>
                </c:pt>
                <c:pt idx="475" formatCode="0.0">
                  <c:v>#N/A</c:v>
                </c:pt>
                <c:pt idx="476" formatCode="0.0">
                  <c:v>#N/A</c:v>
                </c:pt>
                <c:pt idx="477" formatCode="0.0">
                  <c:v>#N/A</c:v>
                </c:pt>
                <c:pt idx="478" formatCode="0.0">
                  <c:v>#N/A</c:v>
                </c:pt>
                <c:pt idx="479" formatCode="0.0">
                  <c:v>#N/A</c:v>
                </c:pt>
              </c:numCache>
            </c:numRef>
          </c:val>
          <c:smooth val="0"/>
          <c:extLst>
            <c:ext xmlns:c16="http://schemas.microsoft.com/office/drawing/2014/chart" uri="{C3380CC4-5D6E-409C-BE32-E72D297353CC}">
              <c16:uniqueId val="{00000002-E187-4FB8-94EE-60A25D456E0A}"/>
            </c:ext>
          </c:extLst>
        </c:ser>
        <c:dLbls>
          <c:showLegendKey val="0"/>
          <c:showVal val="0"/>
          <c:showCatName val="0"/>
          <c:showSerName val="0"/>
          <c:showPercent val="0"/>
          <c:showBubbleSize val="0"/>
        </c:dLbls>
        <c:smooth val="0"/>
        <c:axId val="940725856"/>
        <c:axId val="940723232"/>
      </c:lineChart>
      <c:dateAx>
        <c:axId val="940725856"/>
        <c:scaling>
          <c:orientation val="minMax"/>
        </c:scaling>
        <c:delete val="0"/>
        <c:axPos val="b"/>
        <c:numFmt formatCode="yy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940723232"/>
        <c:crosses val="autoZero"/>
        <c:auto val="1"/>
        <c:lblOffset val="100"/>
        <c:baseTimeUnit val="months"/>
        <c:majorUnit val="3"/>
        <c:majorTimeUnit val="years"/>
      </c:dateAx>
      <c:valAx>
        <c:axId val="9407232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940725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latin typeface="Amalia" panose="020B0504020203020204" pitchFamily="34" charset="0"/>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de-DE"/>
              <a:t>Verbraucherpreise (% p.a.)</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barChart>
        <c:barDir val="col"/>
        <c:grouping val="clustered"/>
        <c:varyColors val="0"/>
        <c:ser>
          <c:idx val="0"/>
          <c:order val="0"/>
          <c:tx>
            <c:strRef>
              <c:f>'VPI-Grafik'!$A$30</c:f>
              <c:strCache>
                <c:ptCount val="1"/>
                <c:pt idx="0">
                  <c:v>Jan. 21</c:v>
                </c:pt>
              </c:strCache>
            </c:strRef>
          </c:tx>
          <c:spPr>
            <a:solidFill>
              <a:schemeClr val="accent1"/>
            </a:solidFill>
            <a:ln>
              <a:noFill/>
            </a:ln>
            <a:effectLst/>
          </c:spPr>
          <c:invertIfNegative val="0"/>
          <c:cat>
            <c:strRef>
              <c:f>'VPI-Grafik'!$B$2:$E$2</c:f>
              <c:strCache>
                <c:ptCount val="4"/>
                <c:pt idx="0">
                  <c:v>USA</c:v>
                </c:pt>
                <c:pt idx="1">
                  <c:v>Eurozone</c:v>
                </c:pt>
                <c:pt idx="2">
                  <c:v>Deutschland</c:v>
                </c:pt>
                <c:pt idx="3">
                  <c:v>Österreich</c:v>
                </c:pt>
              </c:strCache>
            </c:strRef>
          </c:cat>
          <c:val>
            <c:numRef>
              <c:f>'VPI-Grafik'!$B$30:$E$30</c:f>
              <c:numCache>
                <c:formatCode>0.00</c:formatCode>
                <c:ptCount val="4"/>
                <c:pt idx="0">
                  <c:v>1.4</c:v>
                </c:pt>
                <c:pt idx="1">
                  <c:v>0.91020000000000001</c:v>
                </c:pt>
                <c:pt idx="2">
                  <c:v>1.6174999999999999</c:v>
                </c:pt>
                <c:pt idx="3">
                  <c:v>1.0564</c:v>
                </c:pt>
              </c:numCache>
            </c:numRef>
          </c:val>
          <c:extLst>
            <c:ext xmlns:c16="http://schemas.microsoft.com/office/drawing/2014/chart" uri="{C3380CC4-5D6E-409C-BE32-E72D297353CC}">
              <c16:uniqueId val="{00000000-DE26-4D22-A311-31ABE71B6185}"/>
            </c:ext>
          </c:extLst>
        </c:ser>
        <c:ser>
          <c:idx val="2"/>
          <c:order val="1"/>
          <c:tx>
            <c:strRef>
              <c:f>'VPI-Grafik'!$A$32</c:f>
              <c:strCache>
                <c:ptCount val="1"/>
                <c:pt idx="0">
                  <c:v>Mrz. 21</c:v>
                </c:pt>
              </c:strCache>
            </c:strRef>
          </c:tx>
          <c:spPr>
            <a:solidFill>
              <a:schemeClr val="bg1">
                <a:lumMod val="50000"/>
              </a:schemeClr>
            </a:solidFill>
            <a:ln>
              <a:noFill/>
            </a:ln>
            <a:effectLst/>
          </c:spPr>
          <c:invertIfNegative val="0"/>
          <c:cat>
            <c:strRef>
              <c:f>'VPI-Grafik'!$B$2:$E$2</c:f>
              <c:strCache>
                <c:ptCount val="4"/>
                <c:pt idx="0">
                  <c:v>USA</c:v>
                </c:pt>
                <c:pt idx="1">
                  <c:v>Eurozone</c:v>
                </c:pt>
                <c:pt idx="2">
                  <c:v>Deutschland</c:v>
                </c:pt>
                <c:pt idx="3">
                  <c:v>Österreich</c:v>
                </c:pt>
              </c:strCache>
            </c:strRef>
          </c:cat>
          <c:val>
            <c:numRef>
              <c:f>'VPI-Grafik'!$B$32:$E$32</c:f>
              <c:numCache>
                <c:formatCode>0.00</c:formatCode>
                <c:ptCount val="4"/>
                <c:pt idx="0">
                  <c:v>2.62</c:v>
                </c:pt>
                <c:pt idx="1">
                  <c:v>1.3317000000000001</c:v>
                </c:pt>
                <c:pt idx="2">
                  <c:v>1.9849000000000001</c:v>
                </c:pt>
                <c:pt idx="3">
                  <c:v>2.0184000000000002</c:v>
                </c:pt>
              </c:numCache>
            </c:numRef>
          </c:val>
          <c:extLst>
            <c:ext xmlns:c16="http://schemas.microsoft.com/office/drawing/2014/chart" uri="{C3380CC4-5D6E-409C-BE32-E72D297353CC}">
              <c16:uniqueId val="{00000001-DE26-4D22-A311-31ABE71B6185}"/>
            </c:ext>
          </c:extLst>
        </c:ser>
        <c:ser>
          <c:idx val="5"/>
          <c:order val="2"/>
          <c:tx>
            <c:strRef>
              <c:f>'VPI-Grafik'!$A$35</c:f>
              <c:strCache>
                <c:ptCount val="1"/>
                <c:pt idx="0">
                  <c:v>Jun. 21</c:v>
                </c:pt>
              </c:strCache>
            </c:strRef>
          </c:tx>
          <c:spPr>
            <a:solidFill>
              <a:schemeClr val="tx1"/>
            </a:solidFill>
            <a:ln>
              <a:noFill/>
            </a:ln>
            <a:effectLst/>
          </c:spPr>
          <c:invertIfNegative val="0"/>
          <c:cat>
            <c:strRef>
              <c:f>'VPI-Grafik'!$B$2:$E$2</c:f>
              <c:strCache>
                <c:ptCount val="4"/>
                <c:pt idx="0">
                  <c:v>USA</c:v>
                </c:pt>
                <c:pt idx="1">
                  <c:v>Eurozone</c:v>
                </c:pt>
                <c:pt idx="2">
                  <c:v>Deutschland</c:v>
                </c:pt>
                <c:pt idx="3">
                  <c:v>Österreich</c:v>
                </c:pt>
              </c:strCache>
            </c:strRef>
          </c:cat>
          <c:val>
            <c:numRef>
              <c:f>'VPI-Grafik'!$B$35:$E$35</c:f>
              <c:numCache>
                <c:formatCode>0.00</c:formatCode>
                <c:ptCount val="4"/>
                <c:pt idx="0">
                  <c:v>5.391</c:v>
                </c:pt>
                <c:pt idx="1">
                  <c:v>1.9017999999999999</c:v>
                </c:pt>
                <c:pt idx="2">
                  <c:v>2.0579999999999998</c:v>
                </c:pt>
                <c:pt idx="3">
                  <c:v>2.7991000000000001</c:v>
                </c:pt>
              </c:numCache>
            </c:numRef>
          </c:val>
          <c:extLst>
            <c:ext xmlns:c16="http://schemas.microsoft.com/office/drawing/2014/chart" uri="{C3380CC4-5D6E-409C-BE32-E72D297353CC}">
              <c16:uniqueId val="{00000002-DE26-4D22-A311-31ABE71B6185}"/>
            </c:ext>
          </c:extLst>
        </c:ser>
        <c:ser>
          <c:idx val="8"/>
          <c:order val="3"/>
          <c:tx>
            <c:strRef>
              <c:f>'VPI-Grafik'!$A$38</c:f>
              <c:strCache>
                <c:ptCount val="1"/>
                <c:pt idx="0">
                  <c:v>Sep. 21</c:v>
                </c:pt>
              </c:strCache>
            </c:strRef>
          </c:tx>
          <c:spPr>
            <a:solidFill>
              <a:srgbClr val="FFC000"/>
            </a:solidFill>
            <a:ln>
              <a:noFill/>
            </a:ln>
            <a:effectLst/>
          </c:spPr>
          <c:invertIfNegative val="0"/>
          <c:cat>
            <c:strRef>
              <c:f>'VPI-Grafik'!$B$2:$E$2</c:f>
              <c:strCache>
                <c:ptCount val="4"/>
                <c:pt idx="0">
                  <c:v>USA</c:v>
                </c:pt>
                <c:pt idx="1">
                  <c:v>Eurozone</c:v>
                </c:pt>
                <c:pt idx="2">
                  <c:v>Deutschland</c:v>
                </c:pt>
                <c:pt idx="3">
                  <c:v>Österreich</c:v>
                </c:pt>
              </c:strCache>
            </c:strRef>
          </c:cat>
          <c:val>
            <c:numRef>
              <c:f>'VPI-Grafik'!$B$38:$E$38</c:f>
              <c:numCache>
                <c:formatCode>General</c:formatCode>
                <c:ptCount val="4"/>
                <c:pt idx="0">
                  <c:v>5.3</c:v>
                </c:pt>
                <c:pt idx="1">
                  <c:v>3.3632</c:v>
                </c:pt>
                <c:pt idx="2">
                  <c:v>4.0999999999999996</c:v>
                </c:pt>
                <c:pt idx="3">
                  <c:v>3.2391999999999999</c:v>
                </c:pt>
              </c:numCache>
            </c:numRef>
          </c:val>
          <c:extLst>
            <c:ext xmlns:c16="http://schemas.microsoft.com/office/drawing/2014/chart" uri="{C3380CC4-5D6E-409C-BE32-E72D297353CC}">
              <c16:uniqueId val="{00000003-DE26-4D22-A311-31ABE71B6185}"/>
            </c:ext>
          </c:extLst>
        </c:ser>
        <c:dLbls>
          <c:showLegendKey val="0"/>
          <c:showVal val="0"/>
          <c:showCatName val="0"/>
          <c:showSerName val="0"/>
          <c:showPercent val="0"/>
          <c:showBubbleSize val="0"/>
        </c:dLbls>
        <c:gapWidth val="219"/>
        <c:overlap val="-27"/>
        <c:axId val="228673535"/>
        <c:axId val="228663367"/>
      </c:barChart>
      <c:catAx>
        <c:axId val="228673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228663367"/>
        <c:crosses val="autoZero"/>
        <c:auto val="1"/>
        <c:lblAlgn val="ctr"/>
        <c:lblOffset val="100"/>
        <c:noMultiLvlLbl val="0"/>
      </c:catAx>
      <c:valAx>
        <c:axId val="22866336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2286735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en-US" sz="1600" err="1"/>
              <a:t>Konsumentenpreise</a:t>
            </a:r>
            <a:r>
              <a:rPr lang="en-US" sz="1600"/>
              <a:t> DE (p.a. %)</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lineChart>
        <c:grouping val="standard"/>
        <c:varyColors val="0"/>
        <c:ser>
          <c:idx val="0"/>
          <c:order val="0"/>
          <c:tx>
            <c:v>Konsumentenpreise DE</c:v>
          </c:tx>
          <c:spPr>
            <a:ln w="28575" cap="rnd">
              <a:solidFill>
                <a:schemeClr val="accent1"/>
              </a:solidFill>
              <a:round/>
            </a:ln>
            <a:effectLst/>
          </c:spPr>
          <c:marker>
            <c:symbol val="none"/>
          </c:marker>
          <c:cat>
            <c:numRef>
              <c:f>'statx-210728-123657'!$H$5:$BU$5</c:f>
              <c:numCache>
                <c:formatCode>General</c:formatCode>
                <c:ptCount val="66"/>
                <c:pt idx="0">
                  <c:v>1955</c:v>
                </c:pt>
                <c:pt idx="1">
                  <c:v>1956</c:v>
                </c:pt>
                <c:pt idx="2">
                  <c:v>1957</c:v>
                </c:pt>
                <c:pt idx="3">
                  <c:v>1958</c:v>
                </c:pt>
                <c:pt idx="4">
                  <c:v>1959</c:v>
                </c:pt>
                <c:pt idx="5">
                  <c:v>1960</c:v>
                </c:pt>
                <c:pt idx="6">
                  <c:v>1961</c:v>
                </c:pt>
                <c:pt idx="7">
                  <c:v>1962</c:v>
                </c:pt>
                <c:pt idx="8">
                  <c:v>1963</c:v>
                </c:pt>
                <c:pt idx="9">
                  <c:v>1964</c:v>
                </c:pt>
                <c:pt idx="10">
                  <c:v>1965</c:v>
                </c:pt>
                <c:pt idx="11">
                  <c:v>1966</c:v>
                </c:pt>
                <c:pt idx="12">
                  <c:v>1967</c:v>
                </c:pt>
                <c:pt idx="13">
                  <c:v>1968</c:v>
                </c:pt>
                <c:pt idx="14">
                  <c:v>1969</c:v>
                </c:pt>
                <c:pt idx="15">
                  <c:v>1970</c:v>
                </c:pt>
                <c:pt idx="16">
                  <c:v>1971</c:v>
                </c:pt>
                <c:pt idx="17">
                  <c:v>1972</c:v>
                </c:pt>
                <c:pt idx="18">
                  <c:v>1973</c:v>
                </c:pt>
                <c:pt idx="19">
                  <c:v>1974</c:v>
                </c:pt>
                <c:pt idx="20">
                  <c:v>1975</c:v>
                </c:pt>
                <c:pt idx="21">
                  <c:v>1976</c:v>
                </c:pt>
                <c:pt idx="22">
                  <c:v>1977</c:v>
                </c:pt>
                <c:pt idx="23">
                  <c:v>1978</c:v>
                </c:pt>
                <c:pt idx="24">
                  <c:v>1979</c:v>
                </c:pt>
                <c:pt idx="25">
                  <c:v>1980</c:v>
                </c:pt>
                <c:pt idx="26">
                  <c:v>1981</c:v>
                </c:pt>
                <c:pt idx="27">
                  <c:v>1982</c:v>
                </c:pt>
                <c:pt idx="28">
                  <c:v>1983</c:v>
                </c:pt>
                <c:pt idx="29">
                  <c:v>1984</c:v>
                </c:pt>
                <c:pt idx="30">
                  <c:v>1985</c:v>
                </c:pt>
                <c:pt idx="31">
                  <c:v>1986</c:v>
                </c:pt>
                <c:pt idx="32">
                  <c:v>1987</c:v>
                </c:pt>
                <c:pt idx="33">
                  <c:v>1988</c:v>
                </c:pt>
                <c:pt idx="34">
                  <c:v>1989</c:v>
                </c:pt>
                <c:pt idx="35">
                  <c:v>1990</c:v>
                </c:pt>
                <c:pt idx="36">
                  <c:v>1991</c:v>
                </c:pt>
                <c:pt idx="37">
                  <c:v>1992</c:v>
                </c:pt>
                <c:pt idx="38">
                  <c:v>1993</c:v>
                </c:pt>
                <c:pt idx="39">
                  <c:v>1994</c:v>
                </c:pt>
                <c:pt idx="40">
                  <c:v>1995</c:v>
                </c:pt>
                <c:pt idx="41">
                  <c:v>1996</c:v>
                </c:pt>
                <c:pt idx="42">
                  <c:v>1997</c:v>
                </c:pt>
                <c:pt idx="43">
                  <c:v>1998</c:v>
                </c:pt>
                <c:pt idx="44">
                  <c:v>1999</c:v>
                </c:pt>
                <c:pt idx="45">
                  <c:v>2000</c:v>
                </c:pt>
                <c:pt idx="46">
                  <c:v>2001</c:v>
                </c:pt>
                <c:pt idx="47">
                  <c:v>2002</c:v>
                </c:pt>
                <c:pt idx="48">
                  <c:v>2003</c:v>
                </c:pt>
                <c:pt idx="49">
                  <c:v>2004</c:v>
                </c:pt>
                <c:pt idx="50">
                  <c:v>2005</c:v>
                </c:pt>
                <c:pt idx="51">
                  <c:v>2006</c:v>
                </c:pt>
                <c:pt idx="52">
                  <c:v>2007</c:v>
                </c:pt>
                <c:pt idx="53">
                  <c:v>2008</c:v>
                </c:pt>
                <c:pt idx="54">
                  <c:v>2009</c:v>
                </c:pt>
                <c:pt idx="55">
                  <c:v>2010</c:v>
                </c:pt>
                <c:pt idx="56">
                  <c:v>2011</c:v>
                </c:pt>
                <c:pt idx="57">
                  <c:v>2012</c:v>
                </c:pt>
                <c:pt idx="58">
                  <c:v>2013</c:v>
                </c:pt>
                <c:pt idx="59">
                  <c:v>2014</c:v>
                </c:pt>
                <c:pt idx="60">
                  <c:v>2015</c:v>
                </c:pt>
                <c:pt idx="61">
                  <c:v>2016</c:v>
                </c:pt>
                <c:pt idx="62">
                  <c:v>2017</c:v>
                </c:pt>
                <c:pt idx="63">
                  <c:v>2018</c:v>
                </c:pt>
                <c:pt idx="64">
                  <c:v>2019</c:v>
                </c:pt>
                <c:pt idx="65">
                  <c:v>2020</c:v>
                </c:pt>
              </c:numCache>
            </c:numRef>
          </c:cat>
          <c:val>
            <c:numRef>
              <c:f>'statx-210728-123657'!$H$6:$BU$6</c:f>
              <c:numCache>
                <c:formatCode>0.00</c:formatCode>
                <c:ptCount val="66"/>
                <c:pt idx="0">
                  <c:v>1.686874</c:v>
                </c:pt>
                <c:pt idx="1">
                  <c:v>2.617937</c:v>
                </c:pt>
                <c:pt idx="2">
                  <c:v>2.096489</c:v>
                </c:pt>
                <c:pt idx="3">
                  <c:v>0.21276600000000001</c:v>
                </c:pt>
                <c:pt idx="4">
                  <c:v>0.89631799999999995</c:v>
                </c:pt>
                <c:pt idx="5">
                  <c:v>1.5366150000000001</c:v>
                </c:pt>
                <c:pt idx="6">
                  <c:v>2.2936860000000001</c:v>
                </c:pt>
                <c:pt idx="7">
                  <c:v>2.8432729999999999</c:v>
                </c:pt>
                <c:pt idx="8">
                  <c:v>2.9669590000000001</c:v>
                </c:pt>
                <c:pt idx="9">
                  <c:v>2.3357350000000001</c:v>
                </c:pt>
                <c:pt idx="10">
                  <c:v>3.242321</c:v>
                </c:pt>
                <c:pt idx="11">
                  <c:v>3.533058</c:v>
                </c:pt>
                <c:pt idx="12">
                  <c:v>1.796049</c:v>
                </c:pt>
                <c:pt idx="13">
                  <c:v>1.4702999999999999</c:v>
                </c:pt>
                <c:pt idx="14">
                  <c:v>1.912674</c:v>
                </c:pt>
                <c:pt idx="15">
                  <c:v>3.450237</c:v>
                </c:pt>
                <c:pt idx="16">
                  <c:v>5.2409749999999997</c:v>
                </c:pt>
                <c:pt idx="17">
                  <c:v>5.4849379999999996</c:v>
                </c:pt>
                <c:pt idx="18">
                  <c:v>7.0320239999999998</c:v>
                </c:pt>
                <c:pt idx="19">
                  <c:v>6.9864280000000001</c:v>
                </c:pt>
                <c:pt idx="20">
                  <c:v>5.910336</c:v>
                </c:pt>
                <c:pt idx="21">
                  <c:v>4.2466309999999998</c:v>
                </c:pt>
                <c:pt idx="22">
                  <c:v>3.7341690000000001</c:v>
                </c:pt>
                <c:pt idx="23">
                  <c:v>2.7186910000000002</c:v>
                </c:pt>
                <c:pt idx="24">
                  <c:v>4.043622</c:v>
                </c:pt>
                <c:pt idx="25">
                  <c:v>5.4410550000000004</c:v>
                </c:pt>
                <c:pt idx="26">
                  <c:v>6.3442420000000004</c:v>
                </c:pt>
                <c:pt idx="27">
                  <c:v>5.2410459999999999</c:v>
                </c:pt>
                <c:pt idx="28">
                  <c:v>3.2934130000000001</c:v>
                </c:pt>
                <c:pt idx="29">
                  <c:v>2.4057970000000002</c:v>
                </c:pt>
                <c:pt idx="30">
                  <c:v>2.066233</c:v>
                </c:pt>
                <c:pt idx="31">
                  <c:v>-0.129414</c:v>
                </c:pt>
                <c:pt idx="32">
                  <c:v>0.24990699999999999</c:v>
                </c:pt>
                <c:pt idx="33">
                  <c:v>1.2741210000000001</c:v>
                </c:pt>
                <c:pt idx="34">
                  <c:v>2.7805629999999999</c:v>
                </c:pt>
                <c:pt idx="35">
                  <c:v>2.6964700000000001</c:v>
                </c:pt>
                <c:pt idx="36">
                  <c:v>3.632091</c:v>
                </c:pt>
                <c:pt idx="37">
                  <c:v>5.0668360000000003</c:v>
                </c:pt>
                <c:pt idx="38">
                  <c:v>4.4832179999999999</c:v>
                </c:pt>
                <c:pt idx="39">
                  <c:v>2.6672850000000001</c:v>
                </c:pt>
                <c:pt idx="40">
                  <c:v>1.7508189999999999</c:v>
                </c:pt>
                <c:pt idx="41">
                  <c:v>1.4320600000000001</c:v>
                </c:pt>
                <c:pt idx="42">
                  <c:v>1.937179</c:v>
                </c:pt>
                <c:pt idx="43">
                  <c:v>0.86965899999999996</c:v>
                </c:pt>
                <c:pt idx="44">
                  <c:v>0.61734999999999995</c:v>
                </c:pt>
                <c:pt idx="45">
                  <c:v>1.428118</c:v>
                </c:pt>
                <c:pt idx="46">
                  <c:v>2.0025029999999999</c:v>
                </c:pt>
                <c:pt idx="47">
                  <c:v>1.390593</c:v>
                </c:pt>
                <c:pt idx="48">
                  <c:v>1.0689789999999999</c:v>
                </c:pt>
                <c:pt idx="49">
                  <c:v>1.6563559999999999</c:v>
                </c:pt>
                <c:pt idx="50">
                  <c:v>1.5312129999999999</c:v>
                </c:pt>
                <c:pt idx="51">
                  <c:v>1.5951280000000001</c:v>
                </c:pt>
                <c:pt idx="52" formatCode="0.0">
                  <c:v>2.2759999999999998</c:v>
                </c:pt>
                <c:pt idx="53" formatCode="0.0">
                  <c:v>2.754</c:v>
                </c:pt>
                <c:pt idx="54" formatCode="0.0">
                  <c:v>0.23400000000000001</c:v>
                </c:pt>
                <c:pt idx="55" formatCode="0.0">
                  <c:v>1.1499999999999999</c:v>
                </c:pt>
                <c:pt idx="56" formatCode="0.0">
                  <c:v>2.4819999999999998</c:v>
                </c:pt>
                <c:pt idx="57" formatCode="0.0">
                  <c:v>2.137</c:v>
                </c:pt>
                <c:pt idx="58" formatCode="0.0">
                  <c:v>1.593</c:v>
                </c:pt>
                <c:pt idx="59" formatCode="0.0">
                  <c:v>0.78100000000000003</c:v>
                </c:pt>
                <c:pt idx="60" formatCode="0.0">
                  <c:v>0.69599999999999995</c:v>
                </c:pt>
                <c:pt idx="61" formatCode="0.0">
                  <c:v>0.34199999999999997</c:v>
                </c:pt>
                <c:pt idx="62" formatCode="0.0">
                  <c:v>1.7250000000000001</c:v>
                </c:pt>
                <c:pt idx="63" formatCode="0.0">
                  <c:v>1.905</c:v>
                </c:pt>
                <c:pt idx="64" formatCode="0.0">
                  <c:v>1.369</c:v>
                </c:pt>
                <c:pt idx="65">
                  <c:v>0.50668999999999997</c:v>
                </c:pt>
              </c:numCache>
            </c:numRef>
          </c:val>
          <c:smooth val="0"/>
          <c:extLst>
            <c:ext xmlns:c16="http://schemas.microsoft.com/office/drawing/2014/chart" uri="{C3380CC4-5D6E-409C-BE32-E72D297353CC}">
              <c16:uniqueId val="{00000000-447C-453A-A4FA-D9CF62AA6BA5}"/>
            </c:ext>
          </c:extLst>
        </c:ser>
        <c:dLbls>
          <c:showLegendKey val="0"/>
          <c:showVal val="0"/>
          <c:showCatName val="0"/>
          <c:showSerName val="0"/>
          <c:showPercent val="0"/>
          <c:showBubbleSize val="0"/>
        </c:dLbls>
        <c:smooth val="0"/>
        <c:axId val="1055834472"/>
        <c:axId val="1055835128"/>
      </c:lineChart>
      <c:catAx>
        <c:axId val="10558344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055835128"/>
        <c:crosses val="autoZero"/>
        <c:auto val="1"/>
        <c:lblAlgn val="ctr"/>
        <c:lblOffset val="100"/>
        <c:noMultiLvlLbl val="0"/>
      </c:catAx>
      <c:valAx>
        <c:axId val="10558351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055834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Amalia" panose="020B0504020203020204" pitchFamily="34" charset="0"/>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en-US" sz="1600" err="1"/>
              <a:t>Konsumentenpreise</a:t>
            </a:r>
            <a:r>
              <a:rPr lang="en-US" sz="1600"/>
              <a:t> (p.a. %)</a:t>
            </a:r>
            <a:endParaRPr lang="de-DE" sz="1600"/>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barChart>
        <c:barDir val="col"/>
        <c:grouping val="clustered"/>
        <c:varyColors val="0"/>
        <c:ser>
          <c:idx val="0"/>
          <c:order val="0"/>
          <c:tx>
            <c:strRef>
              <c:f>'statx-210728-123657'!$A$29</c:f>
              <c:strCache>
                <c:ptCount val="1"/>
                <c:pt idx="0">
                  <c:v>DE</c:v>
                </c:pt>
              </c:strCache>
            </c:strRef>
          </c:tx>
          <c:spPr>
            <a:solidFill>
              <a:schemeClr val="accent1"/>
            </a:solidFill>
            <a:ln>
              <a:noFill/>
            </a:ln>
            <a:effectLst/>
          </c:spPr>
          <c:invertIfNegative val="0"/>
          <c:cat>
            <c:strRef>
              <c:f>'statx-210728-123657'!$B$28:$D$28</c:f>
              <c:strCache>
                <c:ptCount val="3"/>
                <c:pt idx="0">
                  <c:v>1955-1990</c:v>
                </c:pt>
                <c:pt idx="1">
                  <c:v>1990-2010</c:v>
                </c:pt>
                <c:pt idx="2">
                  <c:v>2010-2020</c:v>
                </c:pt>
              </c:strCache>
            </c:strRef>
          </c:cat>
          <c:val>
            <c:numRef>
              <c:f>'statx-210728-123657'!$B$29:$D$29</c:f>
              <c:numCache>
                <c:formatCode>General</c:formatCode>
                <c:ptCount val="3"/>
                <c:pt idx="0">
                  <c:v>3</c:v>
                </c:pt>
                <c:pt idx="1">
                  <c:v>2</c:v>
                </c:pt>
                <c:pt idx="2">
                  <c:v>1.3</c:v>
                </c:pt>
              </c:numCache>
            </c:numRef>
          </c:val>
          <c:extLst>
            <c:ext xmlns:c16="http://schemas.microsoft.com/office/drawing/2014/chart" uri="{C3380CC4-5D6E-409C-BE32-E72D297353CC}">
              <c16:uniqueId val="{00000000-9CDD-4308-A294-C902C5D02AA4}"/>
            </c:ext>
          </c:extLst>
        </c:ser>
        <c:ser>
          <c:idx val="1"/>
          <c:order val="1"/>
          <c:tx>
            <c:strRef>
              <c:f>'statx-210728-123657'!$A$30</c:f>
              <c:strCache>
                <c:ptCount val="1"/>
                <c:pt idx="0">
                  <c:v>USA</c:v>
                </c:pt>
              </c:strCache>
            </c:strRef>
          </c:tx>
          <c:spPr>
            <a:solidFill>
              <a:schemeClr val="accent2"/>
            </a:solidFill>
            <a:ln>
              <a:noFill/>
            </a:ln>
            <a:effectLst/>
          </c:spPr>
          <c:invertIfNegative val="0"/>
          <c:cat>
            <c:strRef>
              <c:f>'statx-210728-123657'!$B$28:$D$28</c:f>
              <c:strCache>
                <c:ptCount val="3"/>
                <c:pt idx="0">
                  <c:v>1955-1990</c:v>
                </c:pt>
                <c:pt idx="1">
                  <c:v>1990-2010</c:v>
                </c:pt>
                <c:pt idx="2">
                  <c:v>2010-2020</c:v>
                </c:pt>
              </c:strCache>
            </c:strRef>
          </c:cat>
          <c:val>
            <c:numRef>
              <c:f>'statx-210728-123657'!$B$30:$D$30</c:f>
              <c:numCache>
                <c:formatCode>General</c:formatCode>
                <c:ptCount val="3"/>
                <c:pt idx="0">
                  <c:v>4.54</c:v>
                </c:pt>
                <c:pt idx="1">
                  <c:v>2.6</c:v>
                </c:pt>
                <c:pt idx="2">
                  <c:v>1.73</c:v>
                </c:pt>
              </c:numCache>
            </c:numRef>
          </c:val>
          <c:extLst>
            <c:ext xmlns:c16="http://schemas.microsoft.com/office/drawing/2014/chart" uri="{C3380CC4-5D6E-409C-BE32-E72D297353CC}">
              <c16:uniqueId val="{00000001-9CDD-4308-A294-C902C5D02AA4}"/>
            </c:ext>
          </c:extLst>
        </c:ser>
        <c:dLbls>
          <c:showLegendKey val="0"/>
          <c:showVal val="0"/>
          <c:showCatName val="0"/>
          <c:showSerName val="0"/>
          <c:showPercent val="0"/>
          <c:showBubbleSize val="0"/>
        </c:dLbls>
        <c:gapWidth val="219"/>
        <c:overlap val="-27"/>
        <c:axId val="1055821352"/>
        <c:axId val="1055825616"/>
      </c:barChart>
      <c:catAx>
        <c:axId val="105582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055825616"/>
        <c:crosses val="autoZero"/>
        <c:auto val="1"/>
        <c:lblAlgn val="ctr"/>
        <c:lblOffset val="100"/>
        <c:noMultiLvlLbl val="0"/>
      </c:catAx>
      <c:valAx>
        <c:axId val="105582561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0558213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Amalia" panose="020B0504020203020204" pitchFamily="34" charset="0"/>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de-AT"/>
              <a:t>Hypothekarzinsen (%): Klarer Abwärtstrend</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manualLayout>
          <c:layoutTarget val="inner"/>
          <c:xMode val="edge"/>
          <c:yMode val="edge"/>
          <c:x val="5.4954579110371576E-2"/>
          <c:y val="0.10293876896207858"/>
          <c:w val="0.92410118548376996"/>
          <c:h val="0.72420929431260694"/>
        </c:manualLayout>
      </c:layout>
      <c:lineChart>
        <c:grouping val="standard"/>
        <c:varyColors val="0"/>
        <c:ser>
          <c:idx val="2"/>
          <c:order val="0"/>
          <c:tx>
            <c:v>variabel (Zinsbindung &lt;1J)</c:v>
          </c:tx>
          <c:spPr>
            <a:ln w="28575" cap="rnd">
              <a:solidFill>
                <a:srgbClr val="FEE600"/>
              </a:solidFill>
              <a:round/>
            </a:ln>
            <a:effectLst/>
          </c:spPr>
          <c:marker>
            <c:symbol val="none"/>
          </c:marker>
          <c:cat>
            <c:numRef>
              <c:f>'Kreditzisen neugeschäft'!$AG$3:$IU$3</c:f>
              <c:numCache>
                <c:formatCode>mmm\-yy</c:formatCode>
                <c:ptCount val="223"/>
                <c:pt idx="0">
                  <c:v>37622</c:v>
                </c:pt>
                <c:pt idx="1">
                  <c:v>37653</c:v>
                </c:pt>
                <c:pt idx="2">
                  <c:v>37681</c:v>
                </c:pt>
                <c:pt idx="3">
                  <c:v>37712</c:v>
                </c:pt>
                <c:pt idx="4">
                  <c:v>37742</c:v>
                </c:pt>
                <c:pt idx="5">
                  <c:v>37773</c:v>
                </c:pt>
                <c:pt idx="6">
                  <c:v>37803</c:v>
                </c:pt>
                <c:pt idx="7">
                  <c:v>37834</c:v>
                </c:pt>
                <c:pt idx="8">
                  <c:v>37865</c:v>
                </c:pt>
                <c:pt idx="9">
                  <c:v>37895</c:v>
                </c:pt>
                <c:pt idx="10">
                  <c:v>37926</c:v>
                </c:pt>
                <c:pt idx="11">
                  <c:v>37956</c:v>
                </c:pt>
                <c:pt idx="12">
                  <c:v>37987</c:v>
                </c:pt>
                <c:pt idx="13">
                  <c:v>38018</c:v>
                </c:pt>
                <c:pt idx="14">
                  <c:v>38047</c:v>
                </c:pt>
                <c:pt idx="15">
                  <c:v>38078</c:v>
                </c:pt>
                <c:pt idx="16">
                  <c:v>38108</c:v>
                </c:pt>
                <c:pt idx="17">
                  <c:v>38139</c:v>
                </c:pt>
                <c:pt idx="18">
                  <c:v>38169</c:v>
                </c:pt>
                <c:pt idx="19">
                  <c:v>38200</c:v>
                </c:pt>
                <c:pt idx="20">
                  <c:v>38231</c:v>
                </c:pt>
                <c:pt idx="21">
                  <c:v>38261</c:v>
                </c:pt>
                <c:pt idx="22">
                  <c:v>38292</c:v>
                </c:pt>
                <c:pt idx="23">
                  <c:v>38322</c:v>
                </c:pt>
                <c:pt idx="24">
                  <c:v>38353</c:v>
                </c:pt>
                <c:pt idx="25">
                  <c:v>38384</c:v>
                </c:pt>
                <c:pt idx="26">
                  <c:v>38412</c:v>
                </c:pt>
                <c:pt idx="27">
                  <c:v>38443</c:v>
                </c:pt>
                <c:pt idx="28">
                  <c:v>38473</c:v>
                </c:pt>
                <c:pt idx="29">
                  <c:v>38504</c:v>
                </c:pt>
                <c:pt idx="30">
                  <c:v>38534</c:v>
                </c:pt>
                <c:pt idx="31">
                  <c:v>38565</c:v>
                </c:pt>
                <c:pt idx="32">
                  <c:v>38596</c:v>
                </c:pt>
                <c:pt idx="33">
                  <c:v>38626</c:v>
                </c:pt>
                <c:pt idx="34">
                  <c:v>38657</c:v>
                </c:pt>
                <c:pt idx="35">
                  <c:v>38687</c:v>
                </c:pt>
                <c:pt idx="36">
                  <c:v>38718</c:v>
                </c:pt>
                <c:pt idx="37">
                  <c:v>38749</c:v>
                </c:pt>
                <c:pt idx="38">
                  <c:v>38777</c:v>
                </c:pt>
                <c:pt idx="39">
                  <c:v>38808</c:v>
                </c:pt>
                <c:pt idx="40">
                  <c:v>38838</c:v>
                </c:pt>
                <c:pt idx="41">
                  <c:v>38869</c:v>
                </c:pt>
                <c:pt idx="42">
                  <c:v>38899</c:v>
                </c:pt>
                <c:pt idx="43">
                  <c:v>38930</c:v>
                </c:pt>
                <c:pt idx="44">
                  <c:v>38961</c:v>
                </c:pt>
                <c:pt idx="45">
                  <c:v>38991</c:v>
                </c:pt>
                <c:pt idx="46">
                  <c:v>39022</c:v>
                </c:pt>
                <c:pt idx="47">
                  <c:v>39052</c:v>
                </c:pt>
                <c:pt idx="48">
                  <c:v>39083</c:v>
                </c:pt>
                <c:pt idx="49">
                  <c:v>39114</c:v>
                </c:pt>
                <c:pt idx="50">
                  <c:v>39142</c:v>
                </c:pt>
                <c:pt idx="51">
                  <c:v>39173</c:v>
                </c:pt>
                <c:pt idx="52">
                  <c:v>39203</c:v>
                </c:pt>
                <c:pt idx="53">
                  <c:v>39234</c:v>
                </c:pt>
                <c:pt idx="54">
                  <c:v>39264</c:v>
                </c:pt>
                <c:pt idx="55">
                  <c:v>39295</c:v>
                </c:pt>
                <c:pt idx="56">
                  <c:v>39326</c:v>
                </c:pt>
                <c:pt idx="57">
                  <c:v>39356</c:v>
                </c:pt>
                <c:pt idx="58">
                  <c:v>39387</c:v>
                </c:pt>
                <c:pt idx="59">
                  <c:v>39417</c:v>
                </c:pt>
                <c:pt idx="60">
                  <c:v>39448</c:v>
                </c:pt>
                <c:pt idx="61">
                  <c:v>39479</c:v>
                </c:pt>
                <c:pt idx="62">
                  <c:v>39508</c:v>
                </c:pt>
                <c:pt idx="63">
                  <c:v>39539</c:v>
                </c:pt>
                <c:pt idx="64">
                  <c:v>39569</c:v>
                </c:pt>
                <c:pt idx="65">
                  <c:v>39600</c:v>
                </c:pt>
                <c:pt idx="66">
                  <c:v>39630</c:v>
                </c:pt>
                <c:pt idx="67">
                  <c:v>39661</c:v>
                </c:pt>
                <c:pt idx="68">
                  <c:v>39692</c:v>
                </c:pt>
                <c:pt idx="69">
                  <c:v>39722</c:v>
                </c:pt>
                <c:pt idx="70">
                  <c:v>39753</c:v>
                </c:pt>
                <c:pt idx="71">
                  <c:v>39783</c:v>
                </c:pt>
                <c:pt idx="72">
                  <c:v>39814</c:v>
                </c:pt>
                <c:pt idx="73">
                  <c:v>39845</c:v>
                </c:pt>
                <c:pt idx="74">
                  <c:v>39873</c:v>
                </c:pt>
                <c:pt idx="75">
                  <c:v>39904</c:v>
                </c:pt>
                <c:pt idx="76">
                  <c:v>39934</c:v>
                </c:pt>
                <c:pt idx="77">
                  <c:v>39965</c:v>
                </c:pt>
                <c:pt idx="78">
                  <c:v>39995</c:v>
                </c:pt>
                <c:pt idx="79">
                  <c:v>40026</c:v>
                </c:pt>
                <c:pt idx="80">
                  <c:v>40057</c:v>
                </c:pt>
                <c:pt idx="81">
                  <c:v>40087</c:v>
                </c:pt>
                <c:pt idx="82">
                  <c:v>40118</c:v>
                </c:pt>
                <c:pt idx="83">
                  <c:v>40148</c:v>
                </c:pt>
                <c:pt idx="84">
                  <c:v>40179</c:v>
                </c:pt>
                <c:pt idx="85">
                  <c:v>40210</c:v>
                </c:pt>
                <c:pt idx="86">
                  <c:v>40238</c:v>
                </c:pt>
                <c:pt idx="87">
                  <c:v>40269</c:v>
                </c:pt>
                <c:pt idx="88">
                  <c:v>40299</c:v>
                </c:pt>
                <c:pt idx="89">
                  <c:v>40330</c:v>
                </c:pt>
                <c:pt idx="90">
                  <c:v>40360</c:v>
                </c:pt>
                <c:pt idx="91">
                  <c:v>40391</c:v>
                </c:pt>
                <c:pt idx="92">
                  <c:v>40422</c:v>
                </c:pt>
                <c:pt idx="93">
                  <c:v>40452</c:v>
                </c:pt>
                <c:pt idx="94">
                  <c:v>40483</c:v>
                </c:pt>
                <c:pt idx="95">
                  <c:v>40513</c:v>
                </c:pt>
                <c:pt idx="96">
                  <c:v>40544</c:v>
                </c:pt>
                <c:pt idx="97">
                  <c:v>40575</c:v>
                </c:pt>
                <c:pt idx="98">
                  <c:v>40603</c:v>
                </c:pt>
                <c:pt idx="99">
                  <c:v>40634</c:v>
                </c:pt>
                <c:pt idx="100">
                  <c:v>40664</c:v>
                </c:pt>
                <c:pt idx="101">
                  <c:v>40695</c:v>
                </c:pt>
                <c:pt idx="102">
                  <c:v>40725</c:v>
                </c:pt>
                <c:pt idx="103">
                  <c:v>40756</c:v>
                </c:pt>
                <c:pt idx="104">
                  <c:v>40787</c:v>
                </c:pt>
                <c:pt idx="105">
                  <c:v>40817</c:v>
                </c:pt>
                <c:pt idx="106">
                  <c:v>40848</c:v>
                </c:pt>
                <c:pt idx="107">
                  <c:v>40878</c:v>
                </c:pt>
                <c:pt idx="108">
                  <c:v>40909</c:v>
                </c:pt>
                <c:pt idx="109">
                  <c:v>40940</c:v>
                </c:pt>
                <c:pt idx="110">
                  <c:v>40969</c:v>
                </c:pt>
                <c:pt idx="111">
                  <c:v>41000</c:v>
                </c:pt>
                <c:pt idx="112">
                  <c:v>41030</c:v>
                </c:pt>
                <c:pt idx="113">
                  <c:v>41061</c:v>
                </c:pt>
                <c:pt idx="114">
                  <c:v>41091</c:v>
                </c:pt>
                <c:pt idx="115">
                  <c:v>41122</c:v>
                </c:pt>
                <c:pt idx="116">
                  <c:v>41153</c:v>
                </c:pt>
                <c:pt idx="117">
                  <c:v>41183</c:v>
                </c:pt>
                <c:pt idx="118">
                  <c:v>41214</c:v>
                </c:pt>
                <c:pt idx="119">
                  <c:v>41244</c:v>
                </c:pt>
                <c:pt idx="120">
                  <c:v>41275</c:v>
                </c:pt>
                <c:pt idx="121">
                  <c:v>41306</c:v>
                </c:pt>
                <c:pt idx="122">
                  <c:v>41334</c:v>
                </c:pt>
                <c:pt idx="123">
                  <c:v>41365</c:v>
                </c:pt>
                <c:pt idx="124">
                  <c:v>41395</c:v>
                </c:pt>
                <c:pt idx="125">
                  <c:v>41426</c:v>
                </c:pt>
                <c:pt idx="126">
                  <c:v>41456</c:v>
                </c:pt>
                <c:pt idx="127">
                  <c:v>41487</c:v>
                </c:pt>
                <c:pt idx="128">
                  <c:v>41518</c:v>
                </c:pt>
                <c:pt idx="129">
                  <c:v>41548</c:v>
                </c:pt>
                <c:pt idx="130">
                  <c:v>41579</c:v>
                </c:pt>
                <c:pt idx="131">
                  <c:v>41609</c:v>
                </c:pt>
                <c:pt idx="132">
                  <c:v>41640</c:v>
                </c:pt>
                <c:pt idx="133">
                  <c:v>41671</c:v>
                </c:pt>
                <c:pt idx="134">
                  <c:v>41699</c:v>
                </c:pt>
                <c:pt idx="135">
                  <c:v>41730</c:v>
                </c:pt>
                <c:pt idx="136">
                  <c:v>41760</c:v>
                </c:pt>
                <c:pt idx="137">
                  <c:v>41791</c:v>
                </c:pt>
                <c:pt idx="138">
                  <c:v>41821</c:v>
                </c:pt>
                <c:pt idx="139">
                  <c:v>41852</c:v>
                </c:pt>
                <c:pt idx="140">
                  <c:v>41883</c:v>
                </c:pt>
                <c:pt idx="141">
                  <c:v>41913</c:v>
                </c:pt>
                <c:pt idx="142">
                  <c:v>41944</c:v>
                </c:pt>
                <c:pt idx="143">
                  <c:v>41974</c:v>
                </c:pt>
                <c:pt idx="144">
                  <c:v>42005</c:v>
                </c:pt>
                <c:pt idx="145">
                  <c:v>42036</c:v>
                </c:pt>
                <c:pt idx="146">
                  <c:v>42064</c:v>
                </c:pt>
                <c:pt idx="147">
                  <c:v>42095</c:v>
                </c:pt>
                <c:pt idx="148">
                  <c:v>42125</c:v>
                </c:pt>
                <c:pt idx="149">
                  <c:v>42156</c:v>
                </c:pt>
                <c:pt idx="150">
                  <c:v>42186</c:v>
                </c:pt>
                <c:pt idx="151">
                  <c:v>42217</c:v>
                </c:pt>
                <c:pt idx="152">
                  <c:v>42248</c:v>
                </c:pt>
                <c:pt idx="153">
                  <c:v>42278</c:v>
                </c:pt>
                <c:pt idx="154">
                  <c:v>42309</c:v>
                </c:pt>
                <c:pt idx="155">
                  <c:v>42339</c:v>
                </c:pt>
                <c:pt idx="156">
                  <c:v>42370</c:v>
                </c:pt>
                <c:pt idx="157">
                  <c:v>42401</c:v>
                </c:pt>
                <c:pt idx="158">
                  <c:v>42430</c:v>
                </c:pt>
                <c:pt idx="159">
                  <c:v>42461</c:v>
                </c:pt>
                <c:pt idx="160">
                  <c:v>42491</c:v>
                </c:pt>
                <c:pt idx="161">
                  <c:v>42522</c:v>
                </c:pt>
                <c:pt idx="162">
                  <c:v>42552</c:v>
                </c:pt>
                <c:pt idx="163">
                  <c:v>42583</c:v>
                </c:pt>
                <c:pt idx="164">
                  <c:v>42614</c:v>
                </c:pt>
                <c:pt idx="165">
                  <c:v>42644</c:v>
                </c:pt>
                <c:pt idx="166">
                  <c:v>42675</c:v>
                </c:pt>
                <c:pt idx="167">
                  <c:v>42705</c:v>
                </c:pt>
                <c:pt idx="168">
                  <c:v>42736</c:v>
                </c:pt>
                <c:pt idx="169">
                  <c:v>42767</c:v>
                </c:pt>
                <c:pt idx="170">
                  <c:v>42795</c:v>
                </c:pt>
                <c:pt idx="171">
                  <c:v>42826</c:v>
                </c:pt>
                <c:pt idx="172">
                  <c:v>42856</c:v>
                </c:pt>
                <c:pt idx="173">
                  <c:v>42887</c:v>
                </c:pt>
                <c:pt idx="174">
                  <c:v>42917</c:v>
                </c:pt>
                <c:pt idx="175">
                  <c:v>42948</c:v>
                </c:pt>
                <c:pt idx="176">
                  <c:v>42979</c:v>
                </c:pt>
                <c:pt idx="177">
                  <c:v>43009</c:v>
                </c:pt>
                <c:pt idx="178">
                  <c:v>43040</c:v>
                </c:pt>
                <c:pt idx="179">
                  <c:v>43070</c:v>
                </c:pt>
                <c:pt idx="180">
                  <c:v>43101</c:v>
                </c:pt>
                <c:pt idx="181">
                  <c:v>43132</c:v>
                </c:pt>
                <c:pt idx="182">
                  <c:v>43160</c:v>
                </c:pt>
                <c:pt idx="183">
                  <c:v>43191</c:v>
                </c:pt>
                <c:pt idx="184">
                  <c:v>43221</c:v>
                </c:pt>
                <c:pt idx="185">
                  <c:v>43252</c:v>
                </c:pt>
                <c:pt idx="186">
                  <c:v>43282</c:v>
                </c:pt>
                <c:pt idx="187">
                  <c:v>43313</c:v>
                </c:pt>
                <c:pt idx="188">
                  <c:v>43344</c:v>
                </c:pt>
                <c:pt idx="189">
                  <c:v>43374</c:v>
                </c:pt>
                <c:pt idx="190">
                  <c:v>43405</c:v>
                </c:pt>
                <c:pt idx="191">
                  <c:v>43435</c:v>
                </c:pt>
                <c:pt idx="192">
                  <c:v>43466</c:v>
                </c:pt>
                <c:pt idx="193">
                  <c:v>43497</c:v>
                </c:pt>
                <c:pt idx="194">
                  <c:v>43525</c:v>
                </c:pt>
                <c:pt idx="195">
                  <c:v>43556</c:v>
                </c:pt>
                <c:pt idx="196">
                  <c:v>43586</c:v>
                </c:pt>
                <c:pt idx="197">
                  <c:v>43617</c:v>
                </c:pt>
                <c:pt idx="198">
                  <c:v>43647</c:v>
                </c:pt>
                <c:pt idx="199">
                  <c:v>43678</c:v>
                </c:pt>
                <c:pt idx="200">
                  <c:v>43709</c:v>
                </c:pt>
                <c:pt idx="201">
                  <c:v>43739</c:v>
                </c:pt>
                <c:pt idx="202">
                  <c:v>43770</c:v>
                </c:pt>
                <c:pt idx="203">
                  <c:v>43800</c:v>
                </c:pt>
                <c:pt idx="204">
                  <c:v>43831</c:v>
                </c:pt>
                <c:pt idx="205">
                  <c:v>43862</c:v>
                </c:pt>
                <c:pt idx="206">
                  <c:v>43891</c:v>
                </c:pt>
                <c:pt idx="207">
                  <c:v>43922</c:v>
                </c:pt>
                <c:pt idx="208">
                  <c:v>43952</c:v>
                </c:pt>
                <c:pt idx="209">
                  <c:v>43983</c:v>
                </c:pt>
                <c:pt idx="210">
                  <c:v>44013</c:v>
                </c:pt>
                <c:pt idx="211">
                  <c:v>44044</c:v>
                </c:pt>
                <c:pt idx="212">
                  <c:v>44075</c:v>
                </c:pt>
                <c:pt idx="213">
                  <c:v>44105</c:v>
                </c:pt>
                <c:pt idx="214">
                  <c:v>44136</c:v>
                </c:pt>
                <c:pt idx="215">
                  <c:v>44166</c:v>
                </c:pt>
                <c:pt idx="216">
                  <c:v>44197</c:v>
                </c:pt>
                <c:pt idx="217">
                  <c:v>44228</c:v>
                </c:pt>
                <c:pt idx="218">
                  <c:v>44256</c:v>
                </c:pt>
                <c:pt idx="219">
                  <c:v>44287</c:v>
                </c:pt>
                <c:pt idx="220">
                  <c:v>44317</c:v>
                </c:pt>
                <c:pt idx="221">
                  <c:v>44348</c:v>
                </c:pt>
                <c:pt idx="222">
                  <c:v>44378</c:v>
                </c:pt>
              </c:numCache>
            </c:numRef>
          </c:cat>
          <c:val>
            <c:numRef>
              <c:f>'Kreditzisen neugeschäft'!$AG$20:$IU$20</c:f>
              <c:numCache>
                <c:formatCode>General</c:formatCode>
                <c:ptCount val="223"/>
                <c:pt idx="0">
                  <c:v>5.13</c:v>
                </c:pt>
                <c:pt idx="1">
                  <c:v>5.17</c:v>
                </c:pt>
                <c:pt idx="2">
                  <c:v>5.05</c:v>
                </c:pt>
                <c:pt idx="3">
                  <c:v>4.82</c:v>
                </c:pt>
                <c:pt idx="4">
                  <c:v>4.6900000000000004</c:v>
                </c:pt>
                <c:pt idx="5">
                  <c:v>4.7</c:v>
                </c:pt>
                <c:pt idx="6">
                  <c:v>4.4000000000000004</c:v>
                </c:pt>
                <c:pt idx="7">
                  <c:v>4.3499999999999996</c:v>
                </c:pt>
                <c:pt idx="8">
                  <c:v>4.41</c:v>
                </c:pt>
                <c:pt idx="9">
                  <c:v>4.1900000000000004</c:v>
                </c:pt>
                <c:pt idx="10">
                  <c:v>4.2699999999999996</c:v>
                </c:pt>
                <c:pt idx="11">
                  <c:v>4.4000000000000004</c:v>
                </c:pt>
                <c:pt idx="12">
                  <c:v>4.28</c:v>
                </c:pt>
                <c:pt idx="13">
                  <c:v>4.29</c:v>
                </c:pt>
                <c:pt idx="14">
                  <c:v>4.3899999999999997</c:v>
                </c:pt>
                <c:pt idx="15">
                  <c:v>4.3099999999999996</c:v>
                </c:pt>
                <c:pt idx="16">
                  <c:v>4.1900000000000004</c:v>
                </c:pt>
                <c:pt idx="17">
                  <c:v>4.2699999999999996</c:v>
                </c:pt>
                <c:pt idx="18">
                  <c:v>4.17</c:v>
                </c:pt>
                <c:pt idx="19">
                  <c:v>4.18</c:v>
                </c:pt>
                <c:pt idx="20">
                  <c:v>4.21</c:v>
                </c:pt>
                <c:pt idx="21">
                  <c:v>4.18</c:v>
                </c:pt>
                <c:pt idx="22">
                  <c:v>4.2300000000000004</c:v>
                </c:pt>
                <c:pt idx="23">
                  <c:v>4.17</c:v>
                </c:pt>
                <c:pt idx="24">
                  <c:v>4.17</c:v>
                </c:pt>
                <c:pt idx="25">
                  <c:v>4.0999999999999996</c:v>
                </c:pt>
                <c:pt idx="26">
                  <c:v>4.07</c:v>
                </c:pt>
                <c:pt idx="27">
                  <c:v>3.85</c:v>
                </c:pt>
                <c:pt idx="28">
                  <c:v>3.97</c:v>
                </c:pt>
                <c:pt idx="29">
                  <c:v>3.95</c:v>
                </c:pt>
                <c:pt idx="30">
                  <c:v>3.91</c:v>
                </c:pt>
                <c:pt idx="31">
                  <c:v>3.85</c:v>
                </c:pt>
                <c:pt idx="32">
                  <c:v>3.83</c:v>
                </c:pt>
                <c:pt idx="33">
                  <c:v>3.84</c:v>
                </c:pt>
                <c:pt idx="34">
                  <c:v>3.77</c:v>
                </c:pt>
                <c:pt idx="35">
                  <c:v>3.99</c:v>
                </c:pt>
                <c:pt idx="36">
                  <c:v>3.9</c:v>
                </c:pt>
                <c:pt idx="37">
                  <c:v>3.93</c:v>
                </c:pt>
                <c:pt idx="38">
                  <c:v>3.84</c:v>
                </c:pt>
                <c:pt idx="39">
                  <c:v>4.0599999999999996</c:v>
                </c:pt>
                <c:pt idx="40">
                  <c:v>4.12</c:v>
                </c:pt>
                <c:pt idx="41">
                  <c:v>4.07</c:v>
                </c:pt>
                <c:pt idx="42">
                  <c:v>4.32</c:v>
                </c:pt>
                <c:pt idx="43">
                  <c:v>4.3600000000000003</c:v>
                </c:pt>
                <c:pt idx="44">
                  <c:v>4.41</c:v>
                </c:pt>
                <c:pt idx="45">
                  <c:v>4.5599999999999996</c:v>
                </c:pt>
                <c:pt idx="46">
                  <c:v>4.58</c:v>
                </c:pt>
                <c:pt idx="47">
                  <c:v>4.79</c:v>
                </c:pt>
                <c:pt idx="48">
                  <c:v>4.8600000000000003</c:v>
                </c:pt>
                <c:pt idx="49">
                  <c:v>4.9800000000000004</c:v>
                </c:pt>
                <c:pt idx="50">
                  <c:v>4.97</c:v>
                </c:pt>
                <c:pt idx="51">
                  <c:v>5.04</c:v>
                </c:pt>
                <c:pt idx="52">
                  <c:v>5.12</c:v>
                </c:pt>
                <c:pt idx="53">
                  <c:v>5.19</c:v>
                </c:pt>
                <c:pt idx="54">
                  <c:v>5.24</c:v>
                </c:pt>
                <c:pt idx="55">
                  <c:v>5.41</c:v>
                </c:pt>
                <c:pt idx="56">
                  <c:v>5.48</c:v>
                </c:pt>
                <c:pt idx="57">
                  <c:v>5.68</c:v>
                </c:pt>
                <c:pt idx="58">
                  <c:v>5.58</c:v>
                </c:pt>
                <c:pt idx="59">
                  <c:v>5.73</c:v>
                </c:pt>
                <c:pt idx="60">
                  <c:v>5.62</c:v>
                </c:pt>
                <c:pt idx="61">
                  <c:v>5.66</c:v>
                </c:pt>
                <c:pt idx="62">
                  <c:v>5.72</c:v>
                </c:pt>
                <c:pt idx="63">
                  <c:v>5.66</c:v>
                </c:pt>
                <c:pt idx="64">
                  <c:v>5.74</c:v>
                </c:pt>
                <c:pt idx="65">
                  <c:v>5.82</c:v>
                </c:pt>
                <c:pt idx="66">
                  <c:v>5.78</c:v>
                </c:pt>
                <c:pt idx="67">
                  <c:v>5.93</c:v>
                </c:pt>
                <c:pt idx="68">
                  <c:v>5.96</c:v>
                </c:pt>
                <c:pt idx="69">
                  <c:v>6.04</c:v>
                </c:pt>
                <c:pt idx="70">
                  <c:v>5.99</c:v>
                </c:pt>
                <c:pt idx="71">
                  <c:v>5.61</c:v>
                </c:pt>
                <c:pt idx="72">
                  <c:v>5.01</c:v>
                </c:pt>
                <c:pt idx="73">
                  <c:v>4.84</c:v>
                </c:pt>
                <c:pt idx="74">
                  <c:v>4.4000000000000004</c:v>
                </c:pt>
                <c:pt idx="75">
                  <c:v>3.77</c:v>
                </c:pt>
                <c:pt idx="76">
                  <c:v>3.76</c:v>
                </c:pt>
                <c:pt idx="77">
                  <c:v>3.97</c:v>
                </c:pt>
                <c:pt idx="78">
                  <c:v>3.38</c:v>
                </c:pt>
                <c:pt idx="79">
                  <c:v>3.21</c:v>
                </c:pt>
                <c:pt idx="80">
                  <c:v>3.57</c:v>
                </c:pt>
                <c:pt idx="81">
                  <c:v>3.11</c:v>
                </c:pt>
                <c:pt idx="82">
                  <c:v>3.02</c:v>
                </c:pt>
                <c:pt idx="83">
                  <c:v>2.91</c:v>
                </c:pt>
                <c:pt idx="84">
                  <c:v>2.86</c:v>
                </c:pt>
                <c:pt idx="85">
                  <c:v>2.81</c:v>
                </c:pt>
                <c:pt idx="86">
                  <c:v>2.78</c:v>
                </c:pt>
                <c:pt idx="87">
                  <c:v>2.65</c:v>
                </c:pt>
                <c:pt idx="88">
                  <c:v>2.61</c:v>
                </c:pt>
                <c:pt idx="89">
                  <c:v>2.6</c:v>
                </c:pt>
                <c:pt idx="90">
                  <c:v>2.56</c:v>
                </c:pt>
                <c:pt idx="91">
                  <c:v>2.65</c:v>
                </c:pt>
                <c:pt idx="92">
                  <c:v>2.71</c:v>
                </c:pt>
                <c:pt idx="93">
                  <c:v>2.62</c:v>
                </c:pt>
                <c:pt idx="94">
                  <c:v>2.7</c:v>
                </c:pt>
                <c:pt idx="95">
                  <c:v>2.75</c:v>
                </c:pt>
                <c:pt idx="96">
                  <c:v>2.65</c:v>
                </c:pt>
                <c:pt idx="97">
                  <c:v>2.71</c:v>
                </c:pt>
                <c:pt idx="98">
                  <c:v>2.67</c:v>
                </c:pt>
                <c:pt idx="99">
                  <c:v>2.82</c:v>
                </c:pt>
                <c:pt idx="100">
                  <c:v>2.92</c:v>
                </c:pt>
                <c:pt idx="101">
                  <c:v>2.85</c:v>
                </c:pt>
                <c:pt idx="102">
                  <c:v>3.01</c:v>
                </c:pt>
                <c:pt idx="103">
                  <c:v>3.07</c:v>
                </c:pt>
                <c:pt idx="104">
                  <c:v>2.98</c:v>
                </c:pt>
                <c:pt idx="105">
                  <c:v>3.14</c:v>
                </c:pt>
                <c:pt idx="106">
                  <c:v>3.1</c:v>
                </c:pt>
                <c:pt idx="107">
                  <c:v>3.16</c:v>
                </c:pt>
                <c:pt idx="108">
                  <c:v>3.04</c:v>
                </c:pt>
                <c:pt idx="109">
                  <c:v>3.06</c:v>
                </c:pt>
                <c:pt idx="110">
                  <c:v>2.89</c:v>
                </c:pt>
                <c:pt idx="111">
                  <c:v>2.82</c:v>
                </c:pt>
                <c:pt idx="112">
                  <c:v>2.81</c:v>
                </c:pt>
                <c:pt idx="113">
                  <c:v>2.63</c:v>
                </c:pt>
                <c:pt idx="114">
                  <c:v>2.56</c:v>
                </c:pt>
                <c:pt idx="115">
                  <c:v>2.61</c:v>
                </c:pt>
                <c:pt idx="116">
                  <c:v>2.65</c:v>
                </c:pt>
                <c:pt idx="117">
                  <c:v>2.4300000000000002</c:v>
                </c:pt>
                <c:pt idx="118">
                  <c:v>2.4</c:v>
                </c:pt>
                <c:pt idx="119">
                  <c:v>2.48</c:v>
                </c:pt>
                <c:pt idx="120">
                  <c:v>2.23</c:v>
                </c:pt>
                <c:pt idx="121">
                  <c:v>2.39</c:v>
                </c:pt>
                <c:pt idx="122">
                  <c:v>2.4700000000000002</c:v>
                </c:pt>
                <c:pt idx="123">
                  <c:v>2.31</c:v>
                </c:pt>
                <c:pt idx="124">
                  <c:v>2.36</c:v>
                </c:pt>
                <c:pt idx="125">
                  <c:v>2.4300000000000002</c:v>
                </c:pt>
                <c:pt idx="126">
                  <c:v>2.2799999999999998</c:v>
                </c:pt>
                <c:pt idx="127">
                  <c:v>2.39</c:v>
                </c:pt>
                <c:pt idx="128">
                  <c:v>2.4900000000000002</c:v>
                </c:pt>
                <c:pt idx="129">
                  <c:v>2.31</c:v>
                </c:pt>
                <c:pt idx="130">
                  <c:v>2.34</c:v>
                </c:pt>
                <c:pt idx="131">
                  <c:v>2.36</c:v>
                </c:pt>
                <c:pt idx="132">
                  <c:v>2.2599999999999998</c:v>
                </c:pt>
                <c:pt idx="133">
                  <c:v>2.35</c:v>
                </c:pt>
                <c:pt idx="134">
                  <c:v>2.4300000000000002</c:v>
                </c:pt>
                <c:pt idx="135">
                  <c:v>2.34</c:v>
                </c:pt>
                <c:pt idx="136">
                  <c:v>2.38</c:v>
                </c:pt>
                <c:pt idx="137">
                  <c:v>2.4</c:v>
                </c:pt>
                <c:pt idx="138">
                  <c:v>2.2799999999999998</c:v>
                </c:pt>
                <c:pt idx="139">
                  <c:v>2.25</c:v>
                </c:pt>
                <c:pt idx="140">
                  <c:v>2.2599999999999998</c:v>
                </c:pt>
                <c:pt idx="141">
                  <c:v>2.09</c:v>
                </c:pt>
                <c:pt idx="142">
                  <c:v>2.08</c:v>
                </c:pt>
                <c:pt idx="143">
                  <c:v>2.11</c:v>
                </c:pt>
                <c:pt idx="144">
                  <c:v>1.91</c:v>
                </c:pt>
                <c:pt idx="145">
                  <c:v>2.02</c:v>
                </c:pt>
                <c:pt idx="146">
                  <c:v>2.0699999999999998</c:v>
                </c:pt>
                <c:pt idx="147">
                  <c:v>1.87</c:v>
                </c:pt>
                <c:pt idx="148">
                  <c:v>2.0299999999999998</c:v>
                </c:pt>
                <c:pt idx="149">
                  <c:v>2</c:v>
                </c:pt>
                <c:pt idx="150">
                  <c:v>1.9</c:v>
                </c:pt>
                <c:pt idx="151">
                  <c:v>1.98</c:v>
                </c:pt>
                <c:pt idx="152">
                  <c:v>2.0099999999999998</c:v>
                </c:pt>
                <c:pt idx="153">
                  <c:v>1.95</c:v>
                </c:pt>
                <c:pt idx="154">
                  <c:v>1.94</c:v>
                </c:pt>
                <c:pt idx="155">
                  <c:v>1.9</c:v>
                </c:pt>
                <c:pt idx="156">
                  <c:v>1.85</c:v>
                </c:pt>
                <c:pt idx="157">
                  <c:v>1.94</c:v>
                </c:pt>
                <c:pt idx="158">
                  <c:v>1.93</c:v>
                </c:pt>
                <c:pt idx="159">
                  <c:v>1.84</c:v>
                </c:pt>
                <c:pt idx="160">
                  <c:v>1.83</c:v>
                </c:pt>
                <c:pt idx="161">
                  <c:v>1.86</c:v>
                </c:pt>
                <c:pt idx="162">
                  <c:v>1.8</c:v>
                </c:pt>
                <c:pt idx="163">
                  <c:v>1.8</c:v>
                </c:pt>
                <c:pt idx="164">
                  <c:v>1.87</c:v>
                </c:pt>
                <c:pt idx="165">
                  <c:v>1.79</c:v>
                </c:pt>
                <c:pt idx="166">
                  <c:v>1.8</c:v>
                </c:pt>
                <c:pt idx="167">
                  <c:v>1.77</c:v>
                </c:pt>
                <c:pt idx="168">
                  <c:v>1.74</c:v>
                </c:pt>
                <c:pt idx="169">
                  <c:v>1.79</c:v>
                </c:pt>
                <c:pt idx="170">
                  <c:v>1.78</c:v>
                </c:pt>
                <c:pt idx="171">
                  <c:v>1.74</c:v>
                </c:pt>
                <c:pt idx="172">
                  <c:v>1.78</c:v>
                </c:pt>
                <c:pt idx="173">
                  <c:v>1.72</c:v>
                </c:pt>
                <c:pt idx="174">
                  <c:v>1.74</c:v>
                </c:pt>
                <c:pt idx="175">
                  <c:v>1.75</c:v>
                </c:pt>
                <c:pt idx="176">
                  <c:v>1.74</c:v>
                </c:pt>
                <c:pt idx="177">
                  <c:v>1.71</c:v>
                </c:pt>
                <c:pt idx="178">
                  <c:v>1.68</c:v>
                </c:pt>
                <c:pt idx="179">
                  <c:v>1.65</c:v>
                </c:pt>
                <c:pt idx="180">
                  <c:v>1.66</c:v>
                </c:pt>
                <c:pt idx="181">
                  <c:v>1.61</c:v>
                </c:pt>
                <c:pt idx="182">
                  <c:v>1.53</c:v>
                </c:pt>
                <c:pt idx="183">
                  <c:v>1.52</c:v>
                </c:pt>
                <c:pt idx="184">
                  <c:v>1.52</c:v>
                </c:pt>
                <c:pt idx="185">
                  <c:v>1.52</c:v>
                </c:pt>
                <c:pt idx="186">
                  <c:v>1.53</c:v>
                </c:pt>
                <c:pt idx="187">
                  <c:v>1.52</c:v>
                </c:pt>
                <c:pt idx="188">
                  <c:v>1.5</c:v>
                </c:pt>
                <c:pt idx="189">
                  <c:v>1.49</c:v>
                </c:pt>
                <c:pt idx="190">
                  <c:v>1.5</c:v>
                </c:pt>
                <c:pt idx="191">
                  <c:v>1.53</c:v>
                </c:pt>
                <c:pt idx="192">
                  <c:v>1.46</c:v>
                </c:pt>
                <c:pt idx="193">
                  <c:v>1.47</c:v>
                </c:pt>
                <c:pt idx="194">
                  <c:v>1.51</c:v>
                </c:pt>
                <c:pt idx="195">
                  <c:v>1.44</c:v>
                </c:pt>
                <c:pt idx="196">
                  <c:v>1.45</c:v>
                </c:pt>
                <c:pt idx="197">
                  <c:v>1.42</c:v>
                </c:pt>
                <c:pt idx="198">
                  <c:v>1.39</c:v>
                </c:pt>
                <c:pt idx="199">
                  <c:v>1.33</c:v>
                </c:pt>
                <c:pt idx="200">
                  <c:v>1.27</c:v>
                </c:pt>
                <c:pt idx="201">
                  <c:v>1.2</c:v>
                </c:pt>
                <c:pt idx="202">
                  <c:v>1.19</c:v>
                </c:pt>
                <c:pt idx="203">
                  <c:v>1.2</c:v>
                </c:pt>
                <c:pt idx="204">
                  <c:v>1.2</c:v>
                </c:pt>
                <c:pt idx="205">
                  <c:v>1.18</c:v>
                </c:pt>
                <c:pt idx="206">
                  <c:v>1.18</c:v>
                </c:pt>
                <c:pt idx="207">
                  <c:v>1.2</c:v>
                </c:pt>
                <c:pt idx="208">
                  <c:v>1.1499999999999999</c:v>
                </c:pt>
                <c:pt idx="209">
                  <c:v>1.24</c:v>
                </c:pt>
                <c:pt idx="210">
                  <c:v>1.1399999999999999</c:v>
                </c:pt>
                <c:pt idx="211">
                  <c:v>1.05</c:v>
                </c:pt>
                <c:pt idx="212">
                  <c:v>1.08</c:v>
                </c:pt>
                <c:pt idx="213">
                  <c:v>1</c:v>
                </c:pt>
                <c:pt idx="214">
                  <c:v>1.02</c:v>
                </c:pt>
                <c:pt idx="215">
                  <c:v>1.02</c:v>
                </c:pt>
                <c:pt idx="216">
                  <c:v>1.02</c:v>
                </c:pt>
                <c:pt idx="217">
                  <c:v>0.94</c:v>
                </c:pt>
                <c:pt idx="218">
                  <c:v>0.95</c:v>
                </c:pt>
                <c:pt idx="219">
                  <c:v>0.96</c:v>
                </c:pt>
                <c:pt idx="220">
                  <c:v>0.99</c:v>
                </c:pt>
                <c:pt idx="221">
                  <c:v>0.99</c:v>
                </c:pt>
                <c:pt idx="222">
                  <c:v>0.96</c:v>
                </c:pt>
              </c:numCache>
            </c:numRef>
          </c:val>
          <c:smooth val="0"/>
          <c:extLst>
            <c:ext xmlns:c16="http://schemas.microsoft.com/office/drawing/2014/chart" uri="{C3380CC4-5D6E-409C-BE32-E72D297353CC}">
              <c16:uniqueId val="{00000000-9336-42CA-A0B8-406615CC508C}"/>
            </c:ext>
          </c:extLst>
        </c:ser>
        <c:ser>
          <c:idx val="3"/>
          <c:order val="1"/>
          <c:tx>
            <c:v>Zinsbindung &gt;10J</c:v>
          </c:tx>
          <c:spPr>
            <a:ln w="28575" cap="rnd">
              <a:solidFill>
                <a:srgbClr val="808080"/>
              </a:solidFill>
              <a:round/>
            </a:ln>
            <a:effectLst/>
          </c:spPr>
          <c:marker>
            <c:symbol val="none"/>
          </c:marker>
          <c:cat>
            <c:numRef>
              <c:f>'Kreditzisen neugeschäft'!$AG$3:$IU$3</c:f>
              <c:numCache>
                <c:formatCode>mmm\-yy</c:formatCode>
                <c:ptCount val="223"/>
                <c:pt idx="0">
                  <c:v>37622</c:v>
                </c:pt>
                <c:pt idx="1">
                  <c:v>37653</c:v>
                </c:pt>
                <c:pt idx="2">
                  <c:v>37681</c:v>
                </c:pt>
                <c:pt idx="3">
                  <c:v>37712</c:v>
                </c:pt>
                <c:pt idx="4">
                  <c:v>37742</c:v>
                </c:pt>
                <c:pt idx="5">
                  <c:v>37773</c:v>
                </c:pt>
                <c:pt idx="6">
                  <c:v>37803</c:v>
                </c:pt>
                <c:pt idx="7">
                  <c:v>37834</c:v>
                </c:pt>
                <c:pt idx="8">
                  <c:v>37865</c:v>
                </c:pt>
                <c:pt idx="9">
                  <c:v>37895</c:v>
                </c:pt>
                <c:pt idx="10">
                  <c:v>37926</c:v>
                </c:pt>
                <c:pt idx="11">
                  <c:v>37956</c:v>
                </c:pt>
                <c:pt idx="12">
                  <c:v>37987</c:v>
                </c:pt>
                <c:pt idx="13">
                  <c:v>38018</c:v>
                </c:pt>
                <c:pt idx="14">
                  <c:v>38047</c:v>
                </c:pt>
                <c:pt idx="15">
                  <c:v>38078</c:v>
                </c:pt>
                <c:pt idx="16">
                  <c:v>38108</c:v>
                </c:pt>
                <c:pt idx="17">
                  <c:v>38139</c:v>
                </c:pt>
                <c:pt idx="18">
                  <c:v>38169</c:v>
                </c:pt>
                <c:pt idx="19">
                  <c:v>38200</c:v>
                </c:pt>
                <c:pt idx="20">
                  <c:v>38231</c:v>
                </c:pt>
                <c:pt idx="21">
                  <c:v>38261</c:v>
                </c:pt>
                <c:pt idx="22">
                  <c:v>38292</c:v>
                </c:pt>
                <c:pt idx="23">
                  <c:v>38322</c:v>
                </c:pt>
                <c:pt idx="24">
                  <c:v>38353</c:v>
                </c:pt>
                <c:pt idx="25">
                  <c:v>38384</c:v>
                </c:pt>
                <c:pt idx="26">
                  <c:v>38412</c:v>
                </c:pt>
                <c:pt idx="27">
                  <c:v>38443</c:v>
                </c:pt>
                <c:pt idx="28">
                  <c:v>38473</c:v>
                </c:pt>
                <c:pt idx="29">
                  <c:v>38504</c:v>
                </c:pt>
                <c:pt idx="30">
                  <c:v>38534</c:v>
                </c:pt>
                <c:pt idx="31">
                  <c:v>38565</c:v>
                </c:pt>
                <c:pt idx="32">
                  <c:v>38596</c:v>
                </c:pt>
                <c:pt idx="33">
                  <c:v>38626</c:v>
                </c:pt>
                <c:pt idx="34">
                  <c:v>38657</c:v>
                </c:pt>
                <c:pt idx="35">
                  <c:v>38687</c:v>
                </c:pt>
                <c:pt idx="36">
                  <c:v>38718</c:v>
                </c:pt>
                <c:pt idx="37">
                  <c:v>38749</c:v>
                </c:pt>
                <c:pt idx="38">
                  <c:v>38777</c:v>
                </c:pt>
                <c:pt idx="39">
                  <c:v>38808</c:v>
                </c:pt>
                <c:pt idx="40">
                  <c:v>38838</c:v>
                </c:pt>
                <c:pt idx="41">
                  <c:v>38869</c:v>
                </c:pt>
                <c:pt idx="42">
                  <c:v>38899</c:v>
                </c:pt>
                <c:pt idx="43">
                  <c:v>38930</c:v>
                </c:pt>
                <c:pt idx="44">
                  <c:v>38961</c:v>
                </c:pt>
                <c:pt idx="45">
                  <c:v>38991</c:v>
                </c:pt>
                <c:pt idx="46">
                  <c:v>39022</c:v>
                </c:pt>
                <c:pt idx="47">
                  <c:v>39052</c:v>
                </c:pt>
                <c:pt idx="48">
                  <c:v>39083</c:v>
                </c:pt>
                <c:pt idx="49">
                  <c:v>39114</c:v>
                </c:pt>
                <c:pt idx="50">
                  <c:v>39142</c:v>
                </c:pt>
                <c:pt idx="51">
                  <c:v>39173</c:v>
                </c:pt>
                <c:pt idx="52">
                  <c:v>39203</c:v>
                </c:pt>
                <c:pt idx="53">
                  <c:v>39234</c:v>
                </c:pt>
                <c:pt idx="54">
                  <c:v>39264</c:v>
                </c:pt>
                <c:pt idx="55">
                  <c:v>39295</c:v>
                </c:pt>
                <c:pt idx="56">
                  <c:v>39326</c:v>
                </c:pt>
                <c:pt idx="57">
                  <c:v>39356</c:v>
                </c:pt>
                <c:pt idx="58">
                  <c:v>39387</c:v>
                </c:pt>
                <c:pt idx="59">
                  <c:v>39417</c:v>
                </c:pt>
                <c:pt idx="60">
                  <c:v>39448</c:v>
                </c:pt>
                <c:pt idx="61">
                  <c:v>39479</c:v>
                </c:pt>
                <c:pt idx="62">
                  <c:v>39508</c:v>
                </c:pt>
                <c:pt idx="63">
                  <c:v>39539</c:v>
                </c:pt>
                <c:pt idx="64">
                  <c:v>39569</c:v>
                </c:pt>
                <c:pt idx="65">
                  <c:v>39600</c:v>
                </c:pt>
                <c:pt idx="66">
                  <c:v>39630</c:v>
                </c:pt>
                <c:pt idx="67">
                  <c:v>39661</c:v>
                </c:pt>
                <c:pt idx="68">
                  <c:v>39692</c:v>
                </c:pt>
                <c:pt idx="69">
                  <c:v>39722</c:v>
                </c:pt>
                <c:pt idx="70">
                  <c:v>39753</c:v>
                </c:pt>
                <c:pt idx="71">
                  <c:v>39783</c:v>
                </c:pt>
                <c:pt idx="72">
                  <c:v>39814</c:v>
                </c:pt>
                <c:pt idx="73">
                  <c:v>39845</c:v>
                </c:pt>
                <c:pt idx="74">
                  <c:v>39873</c:v>
                </c:pt>
                <c:pt idx="75">
                  <c:v>39904</c:v>
                </c:pt>
                <c:pt idx="76">
                  <c:v>39934</c:v>
                </c:pt>
                <c:pt idx="77">
                  <c:v>39965</c:v>
                </c:pt>
                <c:pt idx="78">
                  <c:v>39995</c:v>
                </c:pt>
                <c:pt idx="79">
                  <c:v>40026</c:v>
                </c:pt>
                <c:pt idx="80">
                  <c:v>40057</c:v>
                </c:pt>
                <c:pt idx="81">
                  <c:v>40087</c:v>
                </c:pt>
                <c:pt idx="82">
                  <c:v>40118</c:v>
                </c:pt>
                <c:pt idx="83">
                  <c:v>40148</c:v>
                </c:pt>
                <c:pt idx="84">
                  <c:v>40179</c:v>
                </c:pt>
                <c:pt idx="85">
                  <c:v>40210</c:v>
                </c:pt>
                <c:pt idx="86">
                  <c:v>40238</c:v>
                </c:pt>
                <c:pt idx="87">
                  <c:v>40269</c:v>
                </c:pt>
                <c:pt idx="88">
                  <c:v>40299</c:v>
                </c:pt>
                <c:pt idx="89">
                  <c:v>40330</c:v>
                </c:pt>
                <c:pt idx="90">
                  <c:v>40360</c:v>
                </c:pt>
                <c:pt idx="91">
                  <c:v>40391</c:v>
                </c:pt>
                <c:pt idx="92">
                  <c:v>40422</c:v>
                </c:pt>
                <c:pt idx="93">
                  <c:v>40452</c:v>
                </c:pt>
                <c:pt idx="94">
                  <c:v>40483</c:v>
                </c:pt>
                <c:pt idx="95">
                  <c:v>40513</c:v>
                </c:pt>
                <c:pt idx="96">
                  <c:v>40544</c:v>
                </c:pt>
                <c:pt idx="97">
                  <c:v>40575</c:v>
                </c:pt>
                <c:pt idx="98">
                  <c:v>40603</c:v>
                </c:pt>
                <c:pt idx="99">
                  <c:v>40634</c:v>
                </c:pt>
                <c:pt idx="100">
                  <c:v>40664</c:v>
                </c:pt>
                <c:pt idx="101">
                  <c:v>40695</c:v>
                </c:pt>
                <c:pt idx="102">
                  <c:v>40725</c:v>
                </c:pt>
                <c:pt idx="103">
                  <c:v>40756</c:v>
                </c:pt>
                <c:pt idx="104">
                  <c:v>40787</c:v>
                </c:pt>
                <c:pt idx="105">
                  <c:v>40817</c:v>
                </c:pt>
                <c:pt idx="106">
                  <c:v>40848</c:v>
                </c:pt>
                <c:pt idx="107">
                  <c:v>40878</c:v>
                </c:pt>
                <c:pt idx="108">
                  <c:v>40909</c:v>
                </c:pt>
                <c:pt idx="109">
                  <c:v>40940</c:v>
                </c:pt>
                <c:pt idx="110">
                  <c:v>40969</c:v>
                </c:pt>
                <c:pt idx="111">
                  <c:v>41000</c:v>
                </c:pt>
                <c:pt idx="112">
                  <c:v>41030</c:v>
                </c:pt>
                <c:pt idx="113">
                  <c:v>41061</c:v>
                </c:pt>
                <c:pt idx="114">
                  <c:v>41091</c:v>
                </c:pt>
                <c:pt idx="115">
                  <c:v>41122</c:v>
                </c:pt>
                <c:pt idx="116">
                  <c:v>41153</c:v>
                </c:pt>
                <c:pt idx="117">
                  <c:v>41183</c:v>
                </c:pt>
                <c:pt idx="118">
                  <c:v>41214</c:v>
                </c:pt>
                <c:pt idx="119">
                  <c:v>41244</c:v>
                </c:pt>
                <c:pt idx="120">
                  <c:v>41275</c:v>
                </c:pt>
                <c:pt idx="121">
                  <c:v>41306</c:v>
                </c:pt>
                <c:pt idx="122">
                  <c:v>41334</c:v>
                </c:pt>
                <c:pt idx="123">
                  <c:v>41365</c:v>
                </c:pt>
                <c:pt idx="124">
                  <c:v>41395</c:v>
                </c:pt>
                <c:pt idx="125">
                  <c:v>41426</c:v>
                </c:pt>
                <c:pt idx="126">
                  <c:v>41456</c:v>
                </c:pt>
                <c:pt idx="127">
                  <c:v>41487</c:v>
                </c:pt>
                <c:pt idx="128">
                  <c:v>41518</c:v>
                </c:pt>
                <c:pt idx="129">
                  <c:v>41548</c:v>
                </c:pt>
                <c:pt idx="130">
                  <c:v>41579</c:v>
                </c:pt>
                <c:pt idx="131">
                  <c:v>41609</c:v>
                </c:pt>
                <c:pt idx="132">
                  <c:v>41640</c:v>
                </c:pt>
                <c:pt idx="133">
                  <c:v>41671</c:v>
                </c:pt>
                <c:pt idx="134">
                  <c:v>41699</c:v>
                </c:pt>
                <c:pt idx="135">
                  <c:v>41730</c:v>
                </c:pt>
                <c:pt idx="136">
                  <c:v>41760</c:v>
                </c:pt>
                <c:pt idx="137">
                  <c:v>41791</c:v>
                </c:pt>
                <c:pt idx="138">
                  <c:v>41821</c:v>
                </c:pt>
                <c:pt idx="139">
                  <c:v>41852</c:v>
                </c:pt>
                <c:pt idx="140">
                  <c:v>41883</c:v>
                </c:pt>
                <c:pt idx="141">
                  <c:v>41913</c:v>
                </c:pt>
                <c:pt idx="142">
                  <c:v>41944</c:v>
                </c:pt>
                <c:pt idx="143">
                  <c:v>41974</c:v>
                </c:pt>
                <c:pt idx="144">
                  <c:v>42005</c:v>
                </c:pt>
                <c:pt idx="145">
                  <c:v>42036</c:v>
                </c:pt>
                <c:pt idx="146">
                  <c:v>42064</c:v>
                </c:pt>
                <c:pt idx="147">
                  <c:v>42095</c:v>
                </c:pt>
                <c:pt idx="148">
                  <c:v>42125</c:v>
                </c:pt>
                <c:pt idx="149">
                  <c:v>42156</c:v>
                </c:pt>
                <c:pt idx="150">
                  <c:v>42186</c:v>
                </c:pt>
                <c:pt idx="151">
                  <c:v>42217</c:v>
                </c:pt>
                <c:pt idx="152">
                  <c:v>42248</c:v>
                </c:pt>
                <c:pt idx="153">
                  <c:v>42278</c:v>
                </c:pt>
                <c:pt idx="154">
                  <c:v>42309</c:v>
                </c:pt>
                <c:pt idx="155">
                  <c:v>42339</c:v>
                </c:pt>
                <c:pt idx="156">
                  <c:v>42370</c:v>
                </c:pt>
                <c:pt idx="157">
                  <c:v>42401</c:v>
                </c:pt>
                <c:pt idx="158">
                  <c:v>42430</c:v>
                </c:pt>
                <c:pt idx="159">
                  <c:v>42461</c:v>
                </c:pt>
                <c:pt idx="160">
                  <c:v>42491</c:v>
                </c:pt>
                <c:pt idx="161">
                  <c:v>42522</c:v>
                </c:pt>
                <c:pt idx="162">
                  <c:v>42552</c:v>
                </c:pt>
                <c:pt idx="163">
                  <c:v>42583</c:v>
                </c:pt>
                <c:pt idx="164">
                  <c:v>42614</c:v>
                </c:pt>
                <c:pt idx="165">
                  <c:v>42644</c:v>
                </c:pt>
                <c:pt idx="166">
                  <c:v>42675</c:v>
                </c:pt>
                <c:pt idx="167">
                  <c:v>42705</c:v>
                </c:pt>
                <c:pt idx="168">
                  <c:v>42736</c:v>
                </c:pt>
                <c:pt idx="169">
                  <c:v>42767</c:v>
                </c:pt>
                <c:pt idx="170">
                  <c:v>42795</c:v>
                </c:pt>
                <c:pt idx="171">
                  <c:v>42826</c:v>
                </c:pt>
                <c:pt idx="172">
                  <c:v>42856</c:v>
                </c:pt>
                <c:pt idx="173">
                  <c:v>42887</c:v>
                </c:pt>
                <c:pt idx="174">
                  <c:v>42917</c:v>
                </c:pt>
                <c:pt idx="175">
                  <c:v>42948</c:v>
                </c:pt>
                <c:pt idx="176">
                  <c:v>42979</c:v>
                </c:pt>
                <c:pt idx="177">
                  <c:v>43009</c:v>
                </c:pt>
                <c:pt idx="178">
                  <c:v>43040</c:v>
                </c:pt>
                <c:pt idx="179">
                  <c:v>43070</c:v>
                </c:pt>
                <c:pt idx="180">
                  <c:v>43101</c:v>
                </c:pt>
                <c:pt idx="181">
                  <c:v>43132</c:v>
                </c:pt>
                <c:pt idx="182">
                  <c:v>43160</c:v>
                </c:pt>
                <c:pt idx="183">
                  <c:v>43191</c:v>
                </c:pt>
                <c:pt idx="184">
                  <c:v>43221</c:v>
                </c:pt>
                <c:pt idx="185">
                  <c:v>43252</c:v>
                </c:pt>
                <c:pt idx="186">
                  <c:v>43282</c:v>
                </c:pt>
                <c:pt idx="187">
                  <c:v>43313</c:v>
                </c:pt>
                <c:pt idx="188">
                  <c:v>43344</c:v>
                </c:pt>
                <c:pt idx="189">
                  <c:v>43374</c:v>
                </c:pt>
                <c:pt idx="190">
                  <c:v>43405</c:v>
                </c:pt>
                <c:pt idx="191">
                  <c:v>43435</c:v>
                </c:pt>
                <c:pt idx="192">
                  <c:v>43466</c:v>
                </c:pt>
                <c:pt idx="193">
                  <c:v>43497</c:v>
                </c:pt>
                <c:pt idx="194">
                  <c:v>43525</c:v>
                </c:pt>
                <c:pt idx="195">
                  <c:v>43556</c:v>
                </c:pt>
                <c:pt idx="196">
                  <c:v>43586</c:v>
                </c:pt>
                <c:pt idx="197">
                  <c:v>43617</c:v>
                </c:pt>
                <c:pt idx="198">
                  <c:v>43647</c:v>
                </c:pt>
                <c:pt idx="199">
                  <c:v>43678</c:v>
                </c:pt>
                <c:pt idx="200">
                  <c:v>43709</c:v>
                </c:pt>
                <c:pt idx="201">
                  <c:v>43739</c:v>
                </c:pt>
                <c:pt idx="202">
                  <c:v>43770</c:v>
                </c:pt>
                <c:pt idx="203">
                  <c:v>43800</c:v>
                </c:pt>
                <c:pt idx="204">
                  <c:v>43831</c:v>
                </c:pt>
                <c:pt idx="205">
                  <c:v>43862</c:v>
                </c:pt>
                <c:pt idx="206">
                  <c:v>43891</c:v>
                </c:pt>
                <c:pt idx="207">
                  <c:v>43922</c:v>
                </c:pt>
                <c:pt idx="208">
                  <c:v>43952</c:v>
                </c:pt>
                <c:pt idx="209">
                  <c:v>43983</c:v>
                </c:pt>
                <c:pt idx="210">
                  <c:v>44013</c:v>
                </c:pt>
                <c:pt idx="211">
                  <c:v>44044</c:v>
                </c:pt>
                <c:pt idx="212">
                  <c:v>44075</c:v>
                </c:pt>
                <c:pt idx="213">
                  <c:v>44105</c:v>
                </c:pt>
                <c:pt idx="214">
                  <c:v>44136</c:v>
                </c:pt>
                <c:pt idx="215">
                  <c:v>44166</c:v>
                </c:pt>
                <c:pt idx="216">
                  <c:v>44197</c:v>
                </c:pt>
                <c:pt idx="217">
                  <c:v>44228</c:v>
                </c:pt>
                <c:pt idx="218">
                  <c:v>44256</c:v>
                </c:pt>
                <c:pt idx="219">
                  <c:v>44287</c:v>
                </c:pt>
                <c:pt idx="220">
                  <c:v>44317</c:v>
                </c:pt>
                <c:pt idx="221">
                  <c:v>44348</c:v>
                </c:pt>
                <c:pt idx="222">
                  <c:v>44378</c:v>
                </c:pt>
              </c:numCache>
            </c:numRef>
          </c:cat>
          <c:val>
            <c:numRef>
              <c:f>'Kreditzisen neugeschäft'!$AG$23:$IU$23</c:f>
              <c:numCache>
                <c:formatCode>General</c:formatCode>
                <c:ptCount val="223"/>
                <c:pt idx="0">
                  <c:v>5.0999999999999996</c:v>
                </c:pt>
                <c:pt idx="1">
                  <c:v>5.04</c:v>
                </c:pt>
                <c:pt idx="2">
                  <c:v>5.0599999999999996</c:v>
                </c:pt>
                <c:pt idx="3">
                  <c:v>4.84</c:v>
                </c:pt>
                <c:pt idx="4">
                  <c:v>4.8</c:v>
                </c:pt>
                <c:pt idx="5">
                  <c:v>4.82</c:v>
                </c:pt>
                <c:pt idx="6">
                  <c:v>4.4400000000000004</c:v>
                </c:pt>
                <c:pt idx="7">
                  <c:v>4.8</c:v>
                </c:pt>
                <c:pt idx="8">
                  <c:v>4.51</c:v>
                </c:pt>
                <c:pt idx="9">
                  <c:v>4.3499999999999996</c:v>
                </c:pt>
                <c:pt idx="10">
                  <c:v>4.95</c:v>
                </c:pt>
                <c:pt idx="11">
                  <c:v>5.14</c:v>
                </c:pt>
                <c:pt idx="12">
                  <c:v>4.6900000000000004</c:v>
                </c:pt>
                <c:pt idx="13">
                  <c:v>4.8</c:v>
                </c:pt>
                <c:pt idx="14">
                  <c:v>4.32</c:v>
                </c:pt>
                <c:pt idx="15">
                  <c:v>4.3099999999999996</c:v>
                </c:pt>
                <c:pt idx="16">
                  <c:v>4.26</c:v>
                </c:pt>
                <c:pt idx="17">
                  <c:v>5.23</c:v>
                </c:pt>
                <c:pt idx="18">
                  <c:v>4.84</c:v>
                </c:pt>
                <c:pt idx="19">
                  <c:v>5.51</c:v>
                </c:pt>
                <c:pt idx="20">
                  <c:v>4.99</c:v>
                </c:pt>
                <c:pt idx="21">
                  <c:v>4.83</c:v>
                </c:pt>
                <c:pt idx="22">
                  <c:v>5.0199999999999996</c:v>
                </c:pt>
                <c:pt idx="23">
                  <c:v>4.8499999999999996</c:v>
                </c:pt>
                <c:pt idx="24">
                  <c:v>5.05</c:v>
                </c:pt>
                <c:pt idx="25">
                  <c:v>6.07</c:v>
                </c:pt>
                <c:pt idx="26">
                  <c:v>5.55</c:v>
                </c:pt>
                <c:pt idx="27">
                  <c:v>4.83</c:v>
                </c:pt>
                <c:pt idx="28">
                  <c:v>4.8099999999999996</c:v>
                </c:pt>
                <c:pt idx="29">
                  <c:v>4.95</c:v>
                </c:pt>
                <c:pt idx="30">
                  <c:v>4.55</c:v>
                </c:pt>
                <c:pt idx="31">
                  <c:v>5.33</c:v>
                </c:pt>
                <c:pt idx="32">
                  <c:v>5.34</c:v>
                </c:pt>
                <c:pt idx="33">
                  <c:v>4.57</c:v>
                </c:pt>
                <c:pt idx="34">
                  <c:v>5.33</c:v>
                </c:pt>
                <c:pt idx="35">
                  <c:v>4.74</c:v>
                </c:pt>
                <c:pt idx="36">
                  <c:v>4.6100000000000003</c:v>
                </c:pt>
                <c:pt idx="37">
                  <c:v>4.6500000000000004</c:v>
                </c:pt>
                <c:pt idx="38">
                  <c:v>4.7699999999999996</c:v>
                </c:pt>
                <c:pt idx="39">
                  <c:v>4.5</c:v>
                </c:pt>
                <c:pt idx="40">
                  <c:v>4.8099999999999996</c:v>
                </c:pt>
                <c:pt idx="41">
                  <c:v>4.6900000000000004</c:v>
                </c:pt>
                <c:pt idx="42">
                  <c:v>4.41</c:v>
                </c:pt>
                <c:pt idx="43">
                  <c:v>5.14</c:v>
                </c:pt>
                <c:pt idx="44">
                  <c:v>5.6</c:v>
                </c:pt>
                <c:pt idx="45">
                  <c:v>4.58</c:v>
                </c:pt>
                <c:pt idx="46">
                  <c:v>4.38</c:v>
                </c:pt>
                <c:pt idx="47">
                  <c:v>5</c:v>
                </c:pt>
                <c:pt idx="48">
                  <c:v>5.0199999999999996</c:v>
                </c:pt>
                <c:pt idx="49">
                  <c:v>5.05</c:v>
                </c:pt>
                <c:pt idx="50">
                  <c:v>5.17</c:v>
                </c:pt>
                <c:pt idx="51">
                  <c:v>5.04</c:v>
                </c:pt>
                <c:pt idx="52">
                  <c:v>5.39</c:v>
                </c:pt>
                <c:pt idx="53">
                  <c:v>5.31</c:v>
                </c:pt>
                <c:pt idx="54">
                  <c:v>5.51</c:v>
                </c:pt>
                <c:pt idx="55">
                  <c:v>5.41</c:v>
                </c:pt>
                <c:pt idx="56">
                  <c:v>5.33</c:v>
                </c:pt>
                <c:pt idx="57">
                  <c:v>5.67</c:v>
                </c:pt>
                <c:pt idx="58">
                  <c:v>5.61</c:v>
                </c:pt>
                <c:pt idx="59">
                  <c:v>5.33</c:v>
                </c:pt>
                <c:pt idx="60">
                  <c:v>5.56</c:v>
                </c:pt>
                <c:pt idx="61">
                  <c:v>5.45</c:v>
                </c:pt>
                <c:pt idx="62">
                  <c:v>5.45</c:v>
                </c:pt>
                <c:pt idx="63">
                  <c:v>5.5</c:v>
                </c:pt>
                <c:pt idx="64">
                  <c:v>5.63</c:v>
                </c:pt>
                <c:pt idx="65">
                  <c:v>5.64</c:v>
                </c:pt>
                <c:pt idx="66">
                  <c:v>5.79</c:v>
                </c:pt>
                <c:pt idx="67">
                  <c:v>5.47</c:v>
                </c:pt>
                <c:pt idx="68">
                  <c:v>5.73</c:v>
                </c:pt>
                <c:pt idx="69">
                  <c:v>5.82</c:v>
                </c:pt>
                <c:pt idx="70">
                  <c:v>5.75</c:v>
                </c:pt>
                <c:pt idx="71">
                  <c:v>5.72</c:v>
                </c:pt>
                <c:pt idx="72">
                  <c:v>5.3</c:v>
                </c:pt>
                <c:pt idx="73">
                  <c:v>5.56</c:v>
                </c:pt>
                <c:pt idx="74">
                  <c:v>5.12</c:v>
                </c:pt>
                <c:pt idx="75">
                  <c:v>5.25</c:v>
                </c:pt>
                <c:pt idx="76">
                  <c:v>5.12</c:v>
                </c:pt>
                <c:pt idx="77">
                  <c:v>5.6</c:v>
                </c:pt>
                <c:pt idx="78">
                  <c:v>5.24</c:v>
                </c:pt>
                <c:pt idx="79">
                  <c:v>5.05</c:v>
                </c:pt>
                <c:pt idx="80">
                  <c:v>5.22</c:v>
                </c:pt>
                <c:pt idx="81">
                  <c:v>5.2</c:v>
                </c:pt>
                <c:pt idx="82">
                  <c:v>5.26</c:v>
                </c:pt>
                <c:pt idx="83">
                  <c:v>5.14</c:v>
                </c:pt>
                <c:pt idx="84">
                  <c:v>4.1900000000000004</c:v>
                </c:pt>
                <c:pt idx="85">
                  <c:v>5.4</c:v>
                </c:pt>
                <c:pt idx="86">
                  <c:v>4.97</c:v>
                </c:pt>
                <c:pt idx="87">
                  <c:v>4.79</c:v>
                </c:pt>
                <c:pt idx="88">
                  <c:v>4.68</c:v>
                </c:pt>
                <c:pt idx="89">
                  <c:v>4.63</c:v>
                </c:pt>
                <c:pt idx="90">
                  <c:v>4.8099999999999996</c:v>
                </c:pt>
                <c:pt idx="91">
                  <c:v>5.0599999999999996</c:v>
                </c:pt>
                <c:pt idx="92">
                  <c:v>4.5999999999999996</c:v>
                </c:pt>
                <c:pt idx="93">
                  <c:v>4.7</c:v>
                </c:pt>
                <c:pt idx="94">
                  <c:v>4.9000000000000004</c:v>
                </c:pt>
                <c:pt idx="95">
                  <c:v>4.45</c:v>
                </c:pt>
                <c:pt idx="96">
                  <c:v>5.17</c:v>
                </c:pt>
                <c:pt idx="97">
                  <c:v>5.26</c:v>
                </c:pt>
                <c:pt idx="98">
                  <c:v>4.95</c:v>
                </c:pt>
                <c:pt idx="99">
                  <c:v>5.0999999999999996</c:v>
                </c:pt>
                <c:pt idx="100">
                  <c:v>5.44</c:v>
                </c:pt>
                <c:pt idx="101">
                  <c:v>5.0199999999999996</c:v>
                </c:pt>
                <c:pt idx="102">
                  <c:v>4.84</c:v>
                </c:pt>
                <c:pt idx="103">
                  <c:v>4.87</c:v>
                </c:pt>
                <c:pt idx="104">
                  <c:v>5.24</c:v>
                </c:pt>
                <c:pt idx="105">
                  <c:v>4.8099999999999996</c:v>
                </c:pt>
                <c:pt idx="106">
                  <c:v>4.66</c:v>
                </c:pt>
                <c:pt idx="107">
                  <c:v>4.3600000000000003</c:v>
                </c:pt>
                <c:pt idx="108">
                  <c:v>4.5</c:v>
                </c:pt>
                <c:pt idx="109">
                  <c:v>4.16</c:v>
                </c:pt>
                <c:pt idx="110">
                  <c:v>3.67</c:v>
                </c:pt>
                <c:pt idx="111">
                  <c:v>4.41</c:v>
                </c:pt>
                <c:pt idx="112">
                  <c:v>4.41</c:v>
                </c:pt>
                <c:pt idx="113">
                  <c:v>3.95</c:v>
                </c:pt>
                <c:pt idx="114">
                  <c:v>4.26</c:v>
                </c:pt>
                <c:pt idx="115">
                  <c:v>3.75</c:v>
                </c:pt>
                <c:pt idx="116">
                  <c:v>3.22</c:v>
                </c:pt>
                <c:pt idx="117">
                  <c:v>3.47</c:v>
                </c:pt>
                <c:pt idx="118">
                  <c:v>3.42</c:v>
                </c:pt>
                <c:pt idx="119">
                  <c:v>3.49</c:v>
                </c:pt>
                <c:pt idx="120">
                  <c:v>3.82</c:v>
                </c:pt>
                <c:pt idx="121">
                  <c:v>3.82</c:v>
                </c:pt>
                <c:pt idx="122">
                  <c:v>3.63</c:v>
                </c:pt>
                <c:pt idx="123">
                  <c:v>3.57</c:v>
                </c:pt>
                <c:pt idx="124">
                  <c:v>3.45</c:v>
                </c:pt>
                <c:pt idx="125">
                  <c:v>3.56</c:v>
                </c:pt>
                <c:pt idx="126">
                  <c:v>3.74</c:v>
                </c:pt>
                <c:pt idx="127">
                  <c:v>3.54</c:v>
                </c:pt>
                <c:pt idx="128">
                  <c:v>3.45</c:v>
                </c:pt>
                <c:pt idx="129">
                  <c:v>3.53</c:v>
                </c:pt>
                <c:pt idx="130">
                  <c:v>3.23</c:v>
                </c:pt>
                <c:pt idx="131">
                  <c:v>3.44</c:v>
                </c:pt>
                <c:pt idx="132">
                  <c:v>3.33</c:v>
                </c:pt>
                <c:pt idx="133">
                  <c:v>3.25</c:v>
                </c:pt>
                <c:pt idx="134">
                  <c:v>3.52</c:v>
                </c:pt>
                <c:pt idx="135">
                  <c:v>3.21</c:v>
                </c:pt>
                <c:pt idx="136">
                  <c:v>3.18</c:v>
                </c:pt>
                <c:pt idx="137">
                  <c:v>3.23</c:v>
                </c:pt>
                <c:pt idx="138">
                  <c:v>3.37</c:v>
                </c:pt>
                <c:pt idx="139">
                  <c:v>3.11</c:v>
                </c:pt>
                <c:pt idx="140">
                  <c:v>3.02</c:v>
                </c:pt>
                <c:pt idx="141">
                  <c:v>2.93</c:v>
                </c:pt>
                <c:pt idx="142">
                  <c:v>2.97</c:v>
                </c:pt>
                <c:pt idx="143">
                  <c:v>2.94</c:v>
                </c:pt>
                <c:pt idx="144">
                  <c:v>2.79</c:v>
                </c:pt>
                <c:pt idx="145">
                  <c:v>2.62</c:v>
                </c:pt>
                <c:pt idx="146">
                  <c:v>2.4300000000000002</c:v>
                </c:pt>
                <c:pt idx="147">
                  <c:v>2.4700000000000002</c:v>
                </c:pt>
                <c:pt idx="148">
                  <c:v>2.35</c:v>
                </c:pt>
                <c:pt idx="149">
                  <c:v>2.58</c:v>
                </c:pt>
                <c:pt idx="150">
                  <c:v>2.4300000000000002</c:v>
                </c:pt>
                <c:pt idx="151">
                  <c:v>2.44</c:v>
                </c:pt>
                <c:pt idx="152">
                  <c:v>2.67</c:v>
                </c:pt>
                <c:pt idx="153">
                  <c:v>2.48</c:v>
                </c:pt>
                <c:pt idx="154">
                  <c:v>2.48</c:v>
                </c:pt>
                <c:pt idx="155">
                  <c:v>2.7</c:v>
                </c:pt>
                <c:pt idx="156">
                  <c:v>2.54</c:v>
                </c:pt>
                <c:pt idx="157">
                  <c:v>2.5499999999999998</c:v>
                </c:pt>
                <c:pt idx="158">
                  <c:v>2.5</c:v>
                </c:pt>
                <c:pt idx="159">
                  <c:v>2.4</c:v>
                </c:pt>
                <c:pt idx="160">
                  <c:v>2.2999999999999998</c:v>
                </c:pt>
                <c:pt idx="161">
                  <c:v>2.2999999999999998</c:v>
                </c:pt>
                <c:pt idx="162">
                  <c:v>2.25</c:v>
                </c:pt>
                <c:pt idx="163">
                  <c:v>2.19</c:v>
                </c:pt>
                <c:pt idx="164">
                  <c:v>2.16</c:v>
                </c:pt>
                <c:pt idx="165">
                  <c:v>2.12</c:v>
                </c:pt>
                <c:pt idx="166">
                  <c:v>2.1</c:v>
                </c:pt>
                <c:pt idx="167">
                  <c:v>2.14</c:v>
                </c:pt>
                <c:pt idx="168">
                  <c:v>2.29</c:v>
                </c:pt>
                <c:pt idx="169">
                  <c:v>2.25</c:v>
                </c:pt>
                <c:pt idx="170">
                  <c:v>2.2400000000000002</c:v>
                </c:pt>
                <c:pt idx="171">
                  <c:v>2.2599999999999998</c:v>
                </c:pt>
                <c:pt idx="172">
                  <c:v>2.19</c:v>
                </c:pt>
                <c:pt idx="173">
                  <c:v>2.2000000000000002</c:v>
                </c:pt>
                <c:pt idx="174">
                  <c:v>2.2400000000000002</c:v>
                </c:pt>
                <c:pt idx="175">
                  <c:v>2.2400000000000002</c:v>
                </c:pt>
                <c:pt idx="176">
                  <c:v>2.12</c:v>
                </c:pt>
                <c:pt idx="177">
                  <c:v>2.15</c:v>
                </c:pt>
                <c:pt idx="178">
                  <c:v>2.2000000000000002</c:v>
                </c:pt>
                <c:pt idx="179">
                  <c:v>2.19</c:v>
                </c:pt>
                <c:pt idx="180">
                  <c:v>2.17</c:v>
                </c:pt>
                <c:pt idx="181">
                  <c:v>2.29</c:v>
                </c:pt>
                <c:pt idx="182">
                  <c:v>2.29</c:v>
                </c:pt>
                <c:pt idx="183">
                  <c:v>2.3199999999999998</c:v>
                </c:pt>
                <c:pt idx="184">
                  <c:v>2.2999999999999998</c:v>
                </c:pt>
                <c:pt idx="185">
                  <c:v>2.2599999999999998</c:v>
                </c:pt>
                <c:pt idx="186">
                  <c:v>2.2999999999999998</c:v>
                </c:pt>
                <c:pt idx="187">
                  <c:v>2.2599999999999998</c:v>
                </c:pt>
                <c:pt idx="188">
                  <c:v>2.2599999999999998</c:v>
                </c:pt>
                <c:pt idx="189">
                  <c:v>2.25</c:v>
                </c:pt>
                <c:pt idx="190">
                  <c:v>2.2400000000000002</c:v>
                </c:pt>
                <c:pt idx="191">
                  <c:v>2.23</c:v>
                </c:pt>
                <c:pt idx="192">
                  <c:v>2.25</c:v>
                </c:pt>
                <c:pt idx="193">
                  <c:v>2.19</c:v>
                </c:pt>
                <c:pt idx="194">
                  <c:v>2.14</c:v>
                </c:pt>
                <c:pt idx="195">
                  <c:v>2.1</c:v>
                </c:pt>
                <c:pt idx="196">
                  <c:v>2.0699999999999998</c:v>
                </c:pt>
                <c:pt idx="197">
                  <c:v>2</c:v>
                </c:pt>
                <c:pt idx="198">
                  <c:v>1.98</c:v>
                </c:pt>
                <c:pt idx="199">
                  <c:v>1.9</c:v>
                </c:pt>
                <c:pt idx="200">
                  <c:v>1.76</c:v>
                </c:pt>
                <c:pt idx="201">
                  <c:v>1.62</c:v>
                </c:pt>
                <c:pt idx="202">
                  <c:v>1.59</c:v>
                </c:pt>
                <c:pt idx="203">
                  <c:v>1.61</c:v>
                </c:pt>
                <c:pt idx="204">
                  <c:v>1.56</c:v>
                </c:pt>
                <c:pt idx="205">
                  <c:v>1.54</c:v>
                </c:pt>
                <c:pt idx="206">
                  <c:v>1.55</c:v>
                </c:pt>
                <c:pt idx="207">
                  <c:v>1.53</c:v>
                </c:pt>
                <c:pt idx="208">
                  <c:v>1.48</c:v>
                </c:pt>
                <c:pt idx="209">
                  <c:v>1.54</c:v>
                </c:pt>
                <c:pt idx="210">
                  <c:v>1.45</c:v>
                </c:pt>
                <c:pt idx="211">
                  <c:v>1.47</c:v>
                </c:pt>
                <c:pt idx="212">
                  <c:v>1.45</c:v>
                </c:pt>
                <c:pt idx="213">
                  <c:v>1.43</c:v>
                </c:pt>
                <c:pt idx="214">
                  <c:v>1.41</c:v>
                </c:pt>
                <c:pt idx="215">
                  <c:v>1.42</c:v>
                </c:pt>
                <c:pt idx="216">
                  <c:v>1.36</c:v>
                </c:pt>
                <c:pt idx="217">
                  <c:v>1.33</c:v>
                </c:pt>
                <c:pt idx="218">
                  <c:v>1.35</c:v>
                </c:pt>
                <c:pt idx="219">
                  <c:v>1.35</c:v>
                </c:pt>
                <c:pt idx="220">
                  <c:v>1.34</c:v>
                </c:pt>
                <c:pt idx="221">
                  <c:v>1.35</c:v>
                </c:pt>
                <c:pt idx="222">
                  <c:v>1.36</c:v>
                </c:pt>
              </c:numCache>
            </c:numRef>
          </c:val>
          <c:smooth val="0"/>
          <c:extLst>
            <c:ext xmlns:c16="http://schemas.microsoft.com/office/drawing/2014/chart" uri="{C3380CC4-5D6E-409C-BE32-E72D297353CC}">
              <c16:uniqueId val="{00000001-9336-42CA-A0B8-406615CC508C}"/>
            </c:ext>
          </c:extLst>
        </c:ser>
        <c:dLbls>
          <c:showLegendKey val="0"/>
          <c:showVal val="0"/>
          <c:showCatName val="0"/>
          <c:showSerName val="0"/>
          <c:showPercent val="0"/>
          <c:showBubbleSize val="0"/>
        </c:dLbls>
        <c:smooth val="0"/>
        <c:axId val="1300485032"/>
        <c:axId val="1300484376"/>
      </c:lineChart>
      <c:dateAx>
        <c:axId val="1300485032"/>
        <c:scaling>
          <c:orientation val="minMax"/>
        </c:scaling>
        <c:delete val="0"/>
        <c:axPos val="b"/>
        <c:numFmt formatCode="mmm/\ 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00484376"/>
        <c:crosses val="autoZero"/>
        <c:auto val="1"/>
        <c:lblOffset val="100"/>
        <c:baseTimeUnit val="months"/>
        <c:majorUnit val="36"/>
        <c:majorTimeUnit val="months"/>
      </c:dateAx>
      <c:valAx>
        <c:axId val="13004843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300485032"/>
        <c:crosses val="autoZero"/>
        <c:crossBetween val="between"/>
      </c:valAx>
      <c:spPr>
        <a:noFill/>
        <a:ln>
          <a:noFill/>
        </a:ln>
        <a:effectLst/>
      </c:spPr>
    </c:plotArea>
    <c:legend>
      <c:legendPos val="b"/>
      <c:layout>
        <c:manualLayout>
          <c:xMode val="edge"/>
          <c:yMode val="edge"/>
          <c:x val="1.4722222222222222E-2"/>
          <c:y val="0.84157945736434103"/>
          <c:w val="0.96349999999999991"/>
          <c:h val="0.1584205426356589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legend>
    <c:plotVisOnly val="1"/>
    <c:dispBlanksAs val="gap"/>
    <c:showDLblsOverMax val="0"/>
    <c:extLst/>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r>
              <a:rPr lang="en-GB" sz="1680" b="0"/>
              <a:t>Einfamilienhäuser</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Amalia" panose="020B0504020203020204" pitchFamily="34" charset="0"/>
              <a:ea typeface="+mn-ea"/>
              <a:cs typeface="+mn-cs"/>
            </a:defRPr>
          </a:pPr>
          <a:endParaRPr lang="de-DE"/>
        </a:p>
      </c:txPr>
    </c:title>
    <c:autoTitleDeleted val="0"/>
    <c:plotArea>
      <c:layout/>
      <c:scatterChart>
        <c:scatterStyle val="lineMarker"/>
        <c:varyColors val="0"/>
        <c:ser>
          <c:idx val="0"/>
          <c:order val="0"/>
          <c:spPr>
            <a:ln w="28575" cap="rnd">
              <a:noFill/>
              <a:round/>
            </a:ln>
            <a:effectLst/>
          </c:spPr>
          <c:marker>
            <c:symbol val="circle"/>
            <c:size val="5"/>
            <c:spPr>
              <a:solidFill>
                <a:schemeClr val="accent1"/>
              </a:solidFill>
              <a:ln w="9525">
                <a:solidFill>
                  <a:schemeClr val="accent1"/>
                </a:solidFill>
              </a:ln>
              <a:effectLst/>
            </c:spPr>
          </c:marker>
          <c:dLbls>
            <c:dLbl>
              <c:idx val="0"/>
              <c:layout>
                <c:manualLayout>
                  <c:x val="-7.3524327192904901E-2"/>
                  <c:y val="-2.3964194851170085E-3"/>
                </c:manualLayout>
              </c:layout>
              <c:tx>
                <c:rich>
                  <a:bodyPr/>
                  <a:lstStyle/>
                  <a:p>
                    <a:fld id="{6F296CF1-3672-4E23-BA29-BBCDEFB7CB73}" type="CELLRANGE">
                      <a:rPr lang="en-US"/>
                      <a:pPr/>
                      <a:t>[ZELLBEREICH]</a:t>
                    </a:fld>
                    <a:endParaRPr lang="de-AT"/>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9239-477D-9B9F-23E0668AE5E5}"/>
                </c:ext>
              </c:extLst>
            </c:dLbl>
            <c:dLbl>
              <c:idx val="1"/>
              <c:tx>
                <c:rich>
                  <a:bodyPr/>
                  <a:lstStyle/>
                  <a:p>
                    <a:fld id="{EC8386D0-F836-40BC-B5B3-702183B099A6}" type="CELLRANGE">
                      <a:rPr lang="de-AT"/>
                      <a:pPr/>
                      <a:t>[ZELLBEREICH]</a:t>
                    </a:fld>
                    <a:endParaRPr lang="de-A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239-477D-9B9F-23E0668AE5E5}"/>
                </c:ext>
              </c:extLst>
            </c:dLbl>
            <c:dLbl>
              <c:idx val="2"/>
              <c:tx>
                <c:rich>
                  <a:bodyPr/>
                  <a:lstStyle/>
                  <a:p>
                    <a:fld id="{0E76CC9D-6919-4E68-8807-309F085A603D}" type="CELLRANGE">
                      <a:rPr lang="de-AT"/>
                      <a:pPr/>
                      <a:t>[ZELLBEREICH]</a:t>
                    </a:fld>
                    <a:endParaRPr lang="de-A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239-477D-9B9F-23E0668AE5E5}"/>
                </c:ext>
              </c:extLst>
            </c:dLbl>
            <c:dLbl>
              <c:idx val="3"/>
              <c:layout>
                <c:manualLayout>
                  <c:x val="-0.17776840241134775"/>
                  <c:y val="-3.1153453306521112E-2"/>
                </c:manualLayout>
              </c:layout>
              <c:tx>
                <c:rich>
                  <a:bodyPr/>
                  <a:lstStyle/>
                  <a:p>
                    <a:fld id="{E83E16F2-10A7-44EC-AF11-6C614CD57386}" type="CELLRANGE">
                      <a:rPr lang="en-US" smtClean="0"/>
                      <a:pPr/>
                      <a:t>[ZELLBEREICH]</a:t>
                    </a:fld>
                    <a:r>
                      <a:rPr lang="en-US"/>
                      <a:t>:</a:t>
                    </a:r>
                    <a:r>
                      <a:rPr lang="en-US" baseline="0"/>
                      <a:t> +7,6 % p.a.</a:t>
                    </a:r>
                  </a:p>
                </c:rich>
              </c:tx>
              <c:showLegendKey val="0"/>
              <c:showVal val="0"/>
              <c:showCatName val="0"/>
              <c:showSerName val="0"/>
              <c:showPercent val="0"/>
              <c:showBubbleSize val="0"/>
              <c:extLst>
                <c:ext xmlns:c15="http://schemas.microsoft.com/office/drawing/2012/chart" uri="{CE6537A1-D6FC-4f65-9D91-7224C49458BB}">
                  <c15:layout>
                    <c:manualLayout>
                      <c:w val="0.28005526660553887"/>
                      <c:h val="4.9797596900731433E-2"/>
                    </c:manualLayout>
                  </c15:layout>
                  <c15:dlblFieldTable/>
                  <c15:showDataLabelsRange val="1"/>
                </c:ext>
                <c:ext xmlns:c16="http://schemas.microsoft.com/office/drawing/2014/chart" uri="{C3380CC4-5D6E-409C-BE32-E72D297353CC}">
                  <c16:uniqueId val="{00000003-9239-477D-9B9F-23E0668AE5E5}"/>
                </c:ext>
              </c:extLst>
            </c:dLbl>
            <c:dLbl>
              <c:idx val="4"/>
              <c:layout>
                <c:manualLayout>
                  <c:x val="-8.1693696881005411E-3"/>
                  <c:y val="-2.3964194851170083E-2"/>
                </c:manualLayout>
              </c:layout>
              <c:tx>
                <c:rich>
                  <a:bodyPr/>
                  <a:lstStyle/>
                  <a:p>
                    <a:fld id="{017CD6A7-10CD-4743-B7C7-231EF2EAF846}" type="CELLRANGE">
                      <a:rPr lang="en-US"/>
                      <a:pPr/>
                      <a:t>[ZELLBEREICH]</a:t>
                    </a:fld>
                    <a:endParaRPr lang="de-AT"/>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9239-477D-9B9F-23E0668AE5E5}"/>
                </c:ext>
              </c:extLst>
            </c:dLbl>
            <c:dLbl>
              <c:idx val="5"/>
              <c:tx>
                <c:rich>
                  <a:bodyPr/>
                  <a:lstStyle/>
                  <a:p>
                    <a:fld id="{9DDA1610-DC36-4F22-B7E5-1C85092F4C54}" type="CELLRANGE">
                      <a:rPr lang="de-AT"/>
                      <a:pPr/>
                      <a:t>[ZELLBEREICH]</a:t>
                    </a:fld>
                    <a:endParaRPr lang="de-A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239-477D-9B9F-23E0668AE5E5}"/>
                </c:ext>
              </c:extLst>
            </c:dLbl>
            <c:dLbl>
              <c:idx val="6"/>
              <c:tx>
                <c:rich>
                  <a:bodyPr/>
                  <a:lstStyle/>
                  <a:p>
                    <a:fld id="{A41B7F4E-9DB8-4FF5-B199-A187C7AF756B}" type="CELLRANGE">
                      <a:rPr lang="de-AT"/>
                      <a:pPr/>
                      <a:t>[ZELLBEREICH]</a:t>
                    </a:fld>
                    <a:endParaRPr lang="de-A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9239-477D-9B9F-23E0668AE5E5}"/>
                </c:ext>
              </c:extLst>
            </c:dLbl>
            <c:dLbl>
              <c:idx val="7"/>
              <c:tx>
                <c:rich>
                  <a:bodyPr/>
                  <a:lstStyle/>
                  <a:p>
                    <a:fld id="{008FE61D-9284-4676-95F0-84E7086EB42D}" type="CELLRANGE">
                      <a:rPr lang="de-AT"/>
                      <a:pPr/>
                      <a:t>[ZELLBEREICH]</a:t>
                    </a:fld>
                    <a:endParaRPr lang="de-A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239-477D-9B9F-23E0668AE5E5}"/>
                </c:ext>
              </c:extLst>
            </c:dLbl>
            <c:dLbl>
              <c:idx val="8"/>
              <c:layout>
                <c:manualLayout>
                  <c:x val="-7.9895946538917031E-2"/>
                  <c:y val="1.1982191772808822E-2"/>
                </c:manualLayout>
              </c:layout>
              <c:tx>
                <c:rich>
                  <a:bodyPr/>
                  <a:lstStyle/>
                  <a:p>
                    <a:fld id="{2982C1E6-150C-4A28-98FC-4C1044860CB0}" type="CELLRANGE">
                      <a:rPr lang="en-US" smtClean="0"/>
                      <a:pPr/>
                      <a:t>[ZELLBEREICH]</a:t>
                    </a:fld>
                    <a:endParaRPr lang="de-AT"/>
                  </a:p>
                </c:rich>
              </c:tx>
              <c:showLegendKey val="0"/>
              <c:showVal val="0"/>
              <c:showCatName val="0"/>
              <c:showSerName val="0"/>
              <c:showPercent val="0"/>
              <c:showBubbleSize val="0"/>
              <c:extLst>
                <c:ext xmlns:c15="http://schemas.microsoft.com/office/drawing/2012/chart" uri="{CE6537A1-D6FC-4f65-9D91-7224C49458BB}">
                  <c15:layout>
                    <c:manualLayout>
                      <c:w val="0.22348893645598567"/>
                      <c:h val="7.8027418435409779E-2"/>
                    </c:manualLayout>
                  </c15:layout>
                  <c15:dlblFieldTable/>
                  <c15:showDataLabelsRange val="1"/>
                </c:ext>
                <c:ext xmlns:c16="http://schemas.microsoft.com/office/drawing/2014/chart" uri="{C3380CC4-5D6E-409C-BE32-E72D297353CC}">
                  <c16:uniqueId val="{00000008-9239-477D-9B9F-23E0668AE5E5}"/>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xVal>
            <c:numRef>
              <c:f>Bundesländer!$G$4:$G$12</c:f>
              <c:numCache>
                <c:formatCode>#,##0</c:formatCode>
                <c:ptCount val="9"/>
                <c:pt idx="0">
                  <c:v>1635</c:v>
                </c:pt>
                <c:pt idx="1">
                  <c:v>881</c:v>
                </c:pt>
                <c:pt idx="2">
                  <c:v>1500</c:v>
                </c:pt>
                <c:pt idx="3">
                  <c:v>1408</c:v>
                </c:pt>
                <c:pt idx="4">
                  <c:v>1815</c:v>
                </c:pt>
                <c:pt idx="5">
                  <c:v>3376</c:v>
                </c:pt>
                <c:pt idx="6">
                  <c:v>1371</c:v>
                </c:pt>
                <c:pt idx="7">
                  <c:v>2906</c:v>
                </c:pt>
                <c:pt idx="8">
                  <c:v>3667</c:v>
                </c:pt>
              </c:numCache>
            </c:numRef>
          </c:xVal>
          <c:yVal>
            <c:numRef>
              <c:f>Bundesländer!$L$4:$L$12</c:f>
              <c:numCache>
                <c:formatCode>0.0</c:formatCode>
                <c:ptCount val="9"/>
                <c:pt idx="0">
                  <c:v>6.3608562691131576</c:v>
                </c:pt>
                <c:pt idx="1">
                  <c:v>4.8808172531214611</c:v>
                </c:pt>
                <c:pt idx="2">
                  <c:v>4.6000000000000041</c:v>
                </c:pt>
                <c:pt idx="3">
                  <c:v>7.5994318181818121</c:v>
                </c:pt>
                <c:pt idx="4">
                  <c:v>7.107438016528933</c:v>
                </c:pt>
                <c:pt idx="5">
                  <c:v>7.5533175355450233</c:v>
                </c:pt>
                <c:pt idx="6">
                  <c:v>1.3858497447118978</c:v>
                </c:pt>
                <c:pt idx="7">
                  <c:v>14.693737095664151</c:v>
                </c:pt>
                <c:pt idx="8">
                  <c:v>9.5718571038996494</c:v>
                </c:pt>
              </c:numCache>
            </c:numRef>
          </c:yVal>
          <c:smooth val="0"/>
          <c:extLst>
            <c:ext xmlns:c15="http://schemas.microsoft.com/office/drawing/2012/chart" uri="{02D57815-91ED-43cb-92C2-25804820EDAC}">
              <c15:datalabelsRange>
                <c15:f>Bundesländer!$A$4:$A$12</c15:f>
                <c15:dlblRangeCache>
                  <c:ptCount val="9"/>
                  <c:pt idx="0">
                    <c:v>AT</c:v>
                  </c:pt>
                  <c:pt idx="1">
                    <c:v>Bgld.</c:v>
                  </c:pt>
                  <c:pt idx="2">
                    <c:v>Ktn.</c:v>
                  </c:pt>
                  <c:pt idx="3">
                    <c:v>NÖ</c:v>
                  </c:pt>
                  <c:pt idx="4">
                    <c:v>OÖ</c:v>
                  </c:pt>
                  <c:pt idx="5">
                    <c:v>Sbg.</c:v>
                  </c:pt>
                  <c:pt idx="6">
                    <c:v>Stmk.</c:v>
                  </c:pt>
                  <c:pt idx="7">
                    <c:v>T</c:v>
                  </c:pt>
                  <c:pt idx="8">
                    <c:v>Vbg.</c:v>
                  </c:pt>
                </c15:dlblRangeCache>
              </c15:datalabelsRange>
            </c:ext>
            <c:ext xmlns:c16="http://schemas.microsoft.com/office/drawing/2014/chart" uri="{C3380CC4-5D6E-409C-BE32-E72D297353CC}">
              <c16:uniqueId val="{0000000A-9239-477D-9B9F-23E0668AE5E5}"/>
            </c:ext>
          </c:extLst>
        </c:ser>
        <c:ser>
          <c:idx val="1"/>
          <c:order val="1"/>
          <c:spPr>
            <a:ln w="25400" cap="rnd">
              <a:noFill/>
              <a:round/>
            </a:ln>
            <a:effectLst/>
          </c:spPr>
          <c:marker>
            <c:symbol val="circle"/>
            <c:size val="5"/>
            <c:spPr>
              <a:solidFill>
                <a:schemeClr val="accent2"/>
              </a:solidFill>
              <a:ln w="9525">
                <a:solidFill>
                  <a:schemeClr val="accent2"/>
                </a:solidFill>
              </a:ln>
              <a:effectLst/>
            </c:spPr>
          </c:marker>
          <c:dLbls>
            <c:dLbl>
              <c:idx val="0"/>
              <c:tx>
                <c:rich>
                  <a:bodyPr/>
                  <a:lstStyle/>
                  <a:p>
                    <a:fld id="{837D4C50-7B5F-4B19-844F-08DDF2A52B71}" type="CELLRANGE">
                      <a:rPr lang="en-US"/>
                      <a:pPr/>
                      <a:t>[ZELLBEREICH]</a:t>
                    </a:fld>
                    <a:endParaRPr lang="de-AT"/>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9239-477D-9B9F-23E0668AE5E5}"/>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Bundesländer!$G$13</c:f>
              <c:numCache>
                <c:formatCode>#,##0</c:formatCode>
                <c:ptCount val="1"/>
                <c:pt idx="0">
                  <c:v>4317</c:v>
                </c:pt>
              </c:numCache>
            </c:numRef>
          </c:xVal>
          <c:yVal>
            <c:numRef>
              <c:f>Bundesländer!$L$13</c:f>
              <c:numCache>
                <c:formatCode>0.0</c:formatCode>
                <c:ptCount val="1"/>
                <c:pt idx="0">
                  <c:v>6.8334491545054332</c:v>
                </c:pt>
              </c:numCache>
            </c:numRef>
          </c:yVal>
          <c:smooth val="0"/>
          <c:extLst>
            <c:ext xmlns:c15="http://schemas.microsoft.com/office/drawing/2012/chart" uri="{02D57815-91ED-43cb-92C2-25804820EDAC}">
              <c15:datalabelsRange>
                <c15:f>Bundesländer!$A$13</c15:f>
                <c15:dlblRangeCache>
                  <c:ptCount val="1"/>
                  <c:pt idx="0">
                    <c:v>W</c:v>
                  </c:pt>
                </c15:dlblRangeCache>
              </c15:datalabelsRange>
            </c:ext>
            <c:ext xmlns:c16="http://schemas.microsoft.com/office/drawing/2014/chart" uri="{C3380CC4-5D6E-409C-BE32-E72D297353CC}">
              <c16:uniqueId val="{0000000C-9239-477D-9B9F-23E0668AE5E5}"/>
            </c:ext>
          </c:extLst>
        </c:ser>
        <c:dLbls>
          <c:showLegendKey val="0"/>
          <c:showVal val="0"/>
          <c:showCatName val="0"/>
          <c:showSerName val="0"/>
          <c:showPercent val="0"/>
          <c:showBubbleSize val="0"/>
        </c:dLbls>
        <c:axId val="1654413176"/>
        <c:axId val="1654412192"/>
      </c:scatterChart>
      <c:valAx>
        <c:axId val="1654413176"/>
        <c:scaling>
          <c:orientation val="minMax"/>
          <c:max val="4500"/>
          <c:min val="5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r>
                  <a:rPr lang="en-GB"/>
                  <a:t>EUR/m</a:t>
                </a:r>
                <a:r>
                  <a:rPr lang="en-GB" baseline="30000"/>
                  <a:t>2</a:t>
                </a:r>
                <a:r>
                  <a:rPr lang="en-GB"/>
                  <a:t> 2019</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654412192"/>
        <c:crosses val="autoZero"/>
        <c:crossBetween val="midCat"/>
        <c:majorUnit val="1000"/>
      </c:valAx>
      <c:valAx>
        <c:axId val="16544121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r>
                  <a:rPr lang="en-GB"/>
                  <a:t>% p.a. 2020</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malia" panose="020B0504020203020204" pitchFamily="34" charset="0"/>
                <a:ea typeface="+mn-ea"/>
                <a:cs typeface="+mn-cs"/>
              </a:defRPr>
            </a:pPr>
            <a:endParaRPr lang="de-DE"/>
          </a:p>
        </c:txPr>
        <c:crossAx val="1654413176"/>
        <c:crosses val="autoZero"/>
        <c:crossBetween val="midCat"/>
        <c:majorUnit val="4"/>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chemeClr val="tx1">
              <a:lumMod val="65000"/>
              <a:lumOff val="35000"/>
            </a:schemeClr>
          </a:solidFill>
          <a:latin typeface="Amalia" panose="020B0504020203020204" pitchFamily="34" charset="0"/>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6799</cdr:x>
      <cdr:y>0.07729</cdr:y>
    </cdr:from>
    <cdr:to>
      <cdr:x>0.46799</cdr:x>
      <cdr:y>0.83766</cdr:y>
    </cdr:to>
    <cdr:cxnSp macro="">
      <cdr:nvCxnSpPr>
        <cdr:cNvPr id="3" name="Gerader Verbinder 2">
          <a:extLst xmlns:a="http://schemas.openxmlformats.org/drawingml/2006/main">
            <a:ext uri="{FF2B5EF4-FFF2-40B4-BE49-F238E27FC236}">
              <a16:creationId xmlns:a16="http://schemas.microsoft.com/office/drawing/2014/main" id="{A9F52FC7-2D08-42A5-A28B-081BA2BB1DCF}"/>
            </a:ext>
          </a:extLst>
        </cdr:cNvPr>
        <cdr:cNvCxnSpPr/>
      </cdr:nvCxnSpPr>
      <cdr:spPr bwMode="gray">
        <a:xfrm xmlns:a="http://schemas.openxmlformats.org/drawingml/2006/main" flipV="1">
          <a:off x="4829377" y="441588"/>
          <a:ext cx="0" cy="4344508"/>
        </a:xfrm>
        <a:prstGeom xmlns:a="http://schemas.openxmlformats.org/drawingml/2006/main" prst="line">
          <a:avLst/>
        </a:prstGeom>
        <a:ln xmlns:a="http://schemas.openxmlformats.org/drawingml/2006/main" w="12700">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54058</cdr:x>
      <cdr:y>0.11119</cdr:y>
    </cdr:from>
    <cdr:to>
      <cdr:x>0.70295</cdr:x>
      <cdr:y>0.22711</cdr:y>
    </cdr:to>
    <cdr:sp macro="" textlink="">
      <cdr:nvSpPr>
        <cdr:cNvPr id="2" name="Oval 1">
          <a:extLst xmlns:a="http://schemas.openxmlformats.org/drawingml/2006/main">
            <a:ext uri="{FF2B5EF4-FFF2-40B4-BE49-F238E27FC236}">
              <a16:creationId xmlns:a16="http://schemas.microsoft.com/office/drawing/2014/main" id="{50ECF7E6-1916-4350-836E-CDB59660EEA6}"/>
            </a:ext>
          </a:extLst>
        </cdr:cNvPr>
        <cdr:cNvSpPr/>
      </cdr:nvSpPr>
      <cdr:spPr bwMode="gray">
        <a:xfrm xmlns:a="http://schemas.openxmlformats.org/drawingml/2006/main">
          <a:off x="3437174" y="589252"/>
          <a:ext cx="1032387" cy="614326"/>
        </a:xfrm>
        <a:prstGeom xmlns:a="http://schemas.openxmlformats.org/drawingml/2006/main" prst="ellipse">
          <a:avLst/>
        </a:prstGeom>
        <a:noFill xmlns:a="http://schemas.openxmlformats.org/drawingml/2006/main"/>
        <a:ln xmlns:a="http://schemas.openxmlformats.org/drawingml/2006/main" w="19050">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15312</cdr:x>
      <cdr:y>0.53521</cdr:y>
    </cdr:from>
    <cdr:to>
      <cdr:x>0.23779</cdr:x>
      <cdr:y>0.57489</cdr:y>
    </cdr:to>
    <cdr:sp macro="" textlink="">
      <cdr:nvSpPr>
        <cdr:cNvPr id="2" name="TextBox 6">
          <a:extLst xmlns:a="http://schemas.openxmlformats.org/drawingml/2006/main">
            <a:ext uri="{FF2B5EF4-FFF2-40B4-BE49-F238E27FC236}">
              <a16:creationId xmlns:a16="http://schemas.microsoft.com/office/drawing/2014/main" id="{D7305BFF-7669-4F1C-9481-3487D1C32DF9}"/>
            </a:ext>
          </a:extLst>
        </cdr:cNvPr>
        <cdr:cNvSpPr txBox="1"/>
      </cdr:nvSpPr>
      <cdr:spPr>
        <a:xfrm xmlns:a="http://schemas.openxmlformats.org/drawingml/2006/main">
          <a:off x="1510217" y="2736304"/>
          <a:ext cx="835113" cy="202866"/>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defRPr lang="en-US" sz="1400" b="0" i="0" u="none" strike="noStrike" kern="1200" baseline="0">
              <a:solidFill>
                <a:schemeClr val="tx1">
                  <a:lumMod val="65000"/>
                  <a:lumOff val="35000"/>
                </a:schemeClr>
              </a:solidFill>
              <a:latin typeface="Amalia" panose="020B0504020203020204" pitchFamily="34" charset="0"/>
              <a:ea typeface="+mn-ea"/>
              <a:cs typeface="+mn-cs"/>
            </a:defRPr>
          </a:pPr>
          <a:r>
            <a:rPr lang="de-DE" sz="1400" kern="1200" dirty="0">
              <a:solidFill>
                <a:schemeClr val="tx1">
                  <a:lumMod val="65000"/>
                  <a:lumOff val="35000"/>
                </a:schemeClr>
              </a:solidFill>
              <a:latin typeface="Amalia" panose="020B0504020203020204" pitchFamily="34" charset="0"/>
            </a:rPr>
            <a:t>+100 %</a:t>
          </a:r>
        </a:p>
      </cdr:txBody>
    </cdr:sp>
  </cdr:relSizeAnchor>
  <cdr:relSizeAnchor xmlns:cdr="http://schemas.openxmlformats.org/drawingml/2006/chartDrawing">
    <cdr:from>
      <cdr:x>0.4043</cdr:x>
      <cdr:y>0.52113</cdr:y>
    </cdr:from>
    <cdr:to>
      <cdr:x>0.48896</cdr:x>
      <cdr:y>0.56082</cdr:y>
    </cdr:to>
    <cdr:sp macro="" textlink="">
      <cdr:nvSpPr>
        <cdr:cNvPr id="3" name="TextBox 6">
          <a:extLst xmlns:a="http://schemas.openxmlformats.org/drawingml/2006/main">
            <a:ext uri="{FF2B5EF4-FFF2-40B4-BE49-F238E27FC236}">
              <a16:creationId xmlns:a16="http://schemas.microsoft.com/office/drawing/2014/main" id="{37669E39-0171-4AE4-933B-ACD5CC05D913}"/>
            </a:ext>
          </a:extLst>
        </cdr:cNvPr>
        <cdr:cNvSpPr txBox="1"/>
      </cdr:nvSpPr>
      <cdr:spPr>
        <a:xfrm xmlns:a="http://schemas.openxmlformats.org/drawingml/2006/main">
          <a:off x="3987645" y="2664296"/>
          <a:ext cx="835014" cy="202918"/>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de-DE" sz="900" b="0" i="0" u="none" strike="noStrike" kern="1200" baseline="0" dirty="0">
              <a:solidFill>
                <a:schemeClr val="tx1">
                  <a:lumMod val="65000"/>
                  <a:lumOff val="35000"/>
                </a:schemeClr>
              </a:solidFill>
              <a:latin typeface="+mj-lt"/>
              <a:ea typeface="+mn-ea"/>
              <a:cs typeface="+mn-cs"/>
            </a:rPr>
            <a:t>+</a:t>
          </a:r>
          <a:r>
            <a:rPr lang="de-DE" sz="1400" kern="1200" dirty="0">
              <a:solidFill>
                <a:schemeClr val="tx1">
                  <a:lumMod val="65000"/>
                  <a:lumOff val="35000"/>
                </a:schemeClr>
              </a:solidFill>
              <a:latin typeface="Amalia" panose="020B0504020203020204" pitchFamily="34" charset="0"/>
            </a:rPr>
            <a:t>100</a:t>
          </a:r>
          <a:r>
            <a:rPr lang="de-DE" sz="900" b="0" i="0" u="none" strike="noStrike" kern="1200" baseline="0" dirty="0">
              <a:solidFill>
                <a:schemeClr val="tx1">
                  <a:lumMod val="65000"/>
                  <a:lumOff val="35000"/>
                </a:schemeClr>
              </a:solidFill>
              <a:latin typeface="+mj-lt"/>
              <a:ea typeface="+mn-ea"/>
              <a:cs typeface="+mn-cs"/>
            </a:rPr>
            <a:t> %</a:t>
          </a:r>
        </a:p>
      </cdr:txBody>
    </cdr:sp>
  </cdr:relSizeAnchor>
  <cdr:relSizeAnchor xmlns:cdr="http://schemas.openxmlformats.org/drawingml/2006/chartDrawing">
    <cdr:from>
      <cdr:x>0.74448</cdr:x>
      <cdr:y>0.29577</cdr:y>
    </cdr:from>
    <cdr:to>
      <cdr:x>0.82914</cdr:x>
      <cdr:y>0.32394</cdr:y>
    </cdr:to>
    <cdr:sp macro="" textlink="">
      <cdr:nvSpPr>
        <cdr:cNvPr id="4" name="TextBox 6">
          <a:extLst xmlns:a="http://schemas.openxmlformats.org/drawingml/2006/main">
            <a:ext uri="{FF2B5EF4-FFF2-40B4-BE49-F238E27FC236}">
              <a16:creationId xmlns:a16="http://schemas.microsoft.com/office/drawing/2014/main" id="{450DF62E-2650-4579-9E5C-0BB7F7A20299}"/>
            </a:ext>
          </a:extLst>
        </cdr:cNvPr>
        <cdr:cNvSpPr txBox="1"/>
      </cdr:nvSpPr>
      <cdr:spPr>
        <a:xfrm xmlns:a="http://schemas.openxmlformats.org/drawingml/2006/main">
          <a:off x="7342865" y="1512168"/>
          <a:ext cx="835014" cy="144016"/>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de-DE" sz="900" b="0" i="0" u="none" strike="noStrike" kern="1200" baseline="0" dirty="0">
              <a:solidFill>
                <a:schemeClr val="tx1">
                  <a:lumMod val="65000"/>
                  <a:lumOff val="35000"/>
                </a:schemeClr>
              </a:solidFill>
              <a:latin typeface="+mj-lt"/>
              <a:ea typeface="+mn-ea"/>
              <a:cs typeface="+mn-cs"/>
            </a:rPr>
            <a:t>+</a:t>
          </a:r>
          <a:r>
            <a:rPr lang="de-DE" sz="1400" kern="1200" dirty="0">
              <a:solidFill>
                <a:schemeClr val="tx1">
                  <a:lumMod val="65000"/>
                  <a:lumOff val="35000"/>
                </a:schemeClr>
              </a:solidFill>
              <a:latin typeface="Amalia" panose="020B0504020203020204" pitchFamily="34" charset="0"/>
            </a:rPr>
            <a:t>90</a:t>
          </a:r>
          <a:r>
            <a:rPr lang="de-DE" sz="900" b="0" i="0" u="none" strike="noStrike" kern="1200" baseline="0" dirty="0">
              <a:solidFill>
                <a:schemeClr val="tx1">
                  <a:lumMod val="65000"/>
                  <a:lumOff val="35000"/>
                </a:schemeClr>
              </a:solidFill>
              <a:latin typeface="+mj-lt"/>
              <a:ea typeface="+mn-ea"/>
              <a:cs typeface="+mn-cs"/>
            </a:rPr>
            <a:t> </a:t>
          </a:r>
          <a:r>
            <a:rPr lang="de-DE" sz="900" kern="1200" dirty="0">
              <a:solidFill>
                <a:schemeClr val="tx1">
                  <a:lumMod val="65000"/>
                  <a:lumOff val="35000"/>
                </a:schemeClr>
              </a:solidFill>
              <a:latin typeface="+mj-lt"/>
            </a:rPr>
            <a:t>%</a:t>
          </a:r>
        </a:p>
      </cdr:txBody>
    </cdr:sp>
  </cdr:relSizeAnchor>
  <cdr:relSizeAnchor xmlns:cdr="http://schemas.openxmlformats.org/drawingml/2006/chartDrawing">
    <cdr:from>
      <cdr:x>0.87577</cdr:x>
      <cdr:y>0.12676</cdr:y>
    </cdr:from>
    <cdr:to>
      <cdr:x>0.96044</cdr:x>
      <cdr:y>0.16645</cdr:y>
    </cdr:to>
    <cdr:sp macro="" textlink="">
      <cdr:nvSpPr>
        <cdr:cNvPr id="5" name="TextBox 6">
          <a:extLst xmlns:a="http://schemas.openxmlformats.org/drawingml/2006/main">
            <a:ext uri="{FF2B5EF4-FFF2-40B4-BE49-F238E27FC236}">
              <a16:creationId xmlns:a16="http://schemas.microsoft.com/office/drawing/2014/main" id="{2C3987CD-18C8-4B3F-96A1-588B5264BF41}"/>
            </a:ext>
          </a:extLst>
        </cdr:cNvPr>
        <cdr:cNvSpPr txBox="1"/>
      </cdr:nvSpPr>
      <cdr:spPr>
        <a:xfrm xmlns:a="http://schemas.openxmlformats.org/drawingml/2006/main">
          <a:off x="8637856" y="648072"/>
          <a:ext cx="835113" cy="202918"/>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defRPr lang="en-US" sz="1400" b="0" i="0" u="none" strike="noStrike" kern="1200" baseline="0">
              <a:solidFill>
                <a:schemeClr val="tx1">
                  <a:lumMod val="65000"/>
                  <a:lumOff val="35000"/>
                </a:schemeClr>
              </a:solidFill>
              <a:latin typeface="Amalia" panose="020B0504020203020204" pitchFamily="34" charset="0"/>
              <a:ea typeface="+mn-ea"/>
              <a:cs typeface="+mn-cs"/>
            </a:defRPr>
          </a:pPr>
          <a:r>
            <a:rPr lang="de-DE" sz="1400" kern="1200" dirty="0">
              <a:solidFill>
                <a:schemeClr val="tx1">
                  <a:lumMod val="65000"/>
                  <a:lumOff val="35000"/>
                </a:schemeClr>
              </a:solidFill>
              <a:latin typeface="Amalia" panose="020B0504020203020204" pitchFamily="34" charset="0"/>
            </a:rPr>
            <a:t>+100 %</a:t>
          </a:r>
        </a:p>
      </cdr:txBody>
    </cdr:sp>
  </cdr:relSizeAnchor>
  <cdr:relSizeAnchor xmlns:cdr="http://schemas.openxmlformats.org/drawingml/2006/chartDrawing">
    <cdr:from>
      <cdr:x>0.12391</cdr:x>
      <cdr:y>0.5493</cdr:y>
    </cdr:from>
    <cdr:to>
      <cdr:x>0.33564</cdr:x>
      <cdr:y>0.66197</cdr:y>
    </cdr:to>
    <cdr:cxnSp macro="">
      <cdr:nvCxnSpPr>
        <cdr:cNvPr id="7" name="Straight Arrow Connector 6">
          <a:extLst xmlns:a="http://schemas.openxmlformats.org/drawingml/2006/main">
            <a:ext uri="{FF2B5EF4-FFF2-40B4-BE49-F238E27FC236}">
              <a16:creationId xmlns:a16="http://schemas.microsoft.com/office/drawing/2014/main" id="{DC4BE9E1-7C66-4AB3-87C1-7772CEEFE194}"/>
            </a:ext>
          </a:extLst>
        </cdr:cNvPr>
        <cdr:cNvCxnSpPr/>
      </cdr:nvCxnSpPr>
      <cdr:spPr bwMode="gray">
        <a:xfrm xmlns:a="http://schemas.openxmlformats.org/drawingml/2006/main" flipV="1">
          <a:off x="1222185" y="2808312"/>
          <a:ext cx="2088232" cy="576064"/>
        </a:xfrm>
        <a:prstGeom xmlns:a="http://schemas.openxmlformats.org/drawingml/2006/main" prst="straightConnector1">
          <a:avLst/>
        </a:prstGeom>
        <a:ln xmlns:a="http://schemas.openxmlformats.org/drawingml/2006/main" w="9525">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2324</cdr:x>
      <cdr:y>0.56338</cdr:y>
    </cdr:from>
    <cdr:to>
      <cdr:x>0.51085</cdr:x>
      <cdr:y>0.6338</cdr:y>
    </cdr:to>
    <cdr:cxnSp macro="">
      <cdr:nvCxnSpPr>
        <cdr:cNvPr id="9" name="Straight Arrow Connector 8">
          <a:extLst xmlns:a="http://schemas.openxmlformats.org/drawingml/2006/main">
            <a:ext uri="{FF2B5EF4-FFF2-40B4-BE49-F238E27FC236}">
              <a16:creationId xmlns:a16="http://schemas.microsoft.com/office/drawing/2014/main" id="{8B45687A-E3CF-414E-9D8F-F72732E71268}"/>
            </a:ext>
          </a:extLst>
        </cdr:cNvPr>
        <cdr:cNvCxnSpPr/>
      </cdr:nvCxnSpPr>
      <cdr:spPr bwMode="gray">
        <a:xfrm xmlns:a="http://schemas.openxmlformats.org/drawingml/2006/main" flipV="1">
          <a:off x="4174513" y="2880320"/>
          <a:ext cx="864096" cy="360040"/>
        </a:xfrm>
        <a:prstGeom xmlns:a="http://schemas.openxmlformats.org/drawingml/2006/main" prst="straightConnector1">
          <a:avLst/>
        </a:prstGeom>
        <a:ln xmlns:a="http://schemas.openxmlformats.org/drawingml/2006/main" w="9525">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4006</cdr:x>
      <cdr:y>0.4507</cdr:y>
    </cdr:from>
    <cdr:to>
      <cdr:x>0.69337</cdr:x>
      <cdr:y>0.59155</cdr:y>
    </cdr:to>
    <cdr:cxnSp macro="">
      <cdr:nvCxnSpPr>
        <cdr:cNvPr id="11" name="Straight Arrow Connector 10">
          <a:extLst xmlns:a="http://schemas.openxmlformats.org/drawingml/2006/main">
            <a:ext uri="{FF2B5EF4-FFF2-40B4-BE49-F238E27FC236}">
              <a16:creationId xmlns:a16="http://schemas.microsoft.com/office/drawing/2014/main" id="{B6D56FA0-3451-4181-9296-BA6B6BFBF406}"/>
            </a:ext>
          </a:extLst>
        </cdr:cNvPr>
        <cdr:cNvCxnSpPr/>
      </cdr:nvCxnSpPr>
      <cdr:spPr bwMode="gray">
        <a:xfrm xmlns:a="http://schemas.openxmlformats.org/drawingml/2006/main" flipV="1">
          <a:off x="5326641" y="2304256"/>
          <a:ext cx="1512168" cy="720080"/>
        </a:xfrm>
        <a:prstGeom xmlns:a="http://schemas.openxmlformats.org/drawingml/2006/main" prst="straightConnector1">
          <a:avLst/>
        </a:prstGeom>
        <a:ln xmlns:a="http://schemas.openxmlformats.org/drawingml/2006/main" w="9525">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5466</cdr:x>
      <cdr:y>0.4509</cdr:y>
    </cdr:from>
    <cdr:to>
      <cdr:x>0.63932</cdr:x>
      <cdr:y>0.49059</cdr:y>
    </cdr:to>
    <cdr:sp macro="" textlink="">
      <cdr:nvSpPr>
        <cdr:cNvPr id="15" name="TextBox 6">
          <a:extLst xmlns:a="http://schemas.openxmlformats.org/drawingml/2006/main">
            <a:ext uri="{FF2B5EF4-FFF2-40B4-BE49-F238E27FC236}">
              <a16:creationId xmlns:a16="http://schemas.microsoft.com/office/drawing/2014/main" id="{C8029E97-425C-4B13-967C-4EE8FFC2E4D9}"/>
            </a:ext>
          </a:extLst>
        </cdr:cNvPr>
        <cdr:cNvSpPr txBox="1"/>
      </cdr:nvSpPr>
      <cdr:spPr>
        <a:xfrm xmlns:a="http://schemas.openxmlformats.org/drawingml/2006/main">
          <a:off x="5470657" y="2305246"/>
          <a:ext cx="835014" cy="202918"/>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de-DE" sz="900" b="0" i="0" u="none" strike="noStrike" kern="1200" baseline="0" dirty="0">
              <a:solidFill>
                <a:schemeClr val="tx1">
                  <a:lumMod val="65000"/>
                  <a:lumOff val="35000"/>
                </a:schemeClr>
              </a:solidFill>
              <a:latin typeface="+mj-lt"/>
              <a:ea typeface="+mn-ea"/>
              <a:cs typeface="+mn-cs"/>
            </a:rPr>
            <a:t>+</a:t>
          </a:r>
          <a:r>
            <a:rPr lang="de-DE" sz="1400" kern="1200" dirty="0">
              <a:solidFill>
                <a:schemeClr val="tx1">
                  <a:lumMod val="65000"/>
                  <a:lumOff val="35000"/>
                </a:schemeClr>
              </a:solidFill>
              <a:latin typeface="Amalia" panose="020B0504020203020204" pitchFamily="34" charset="0"/>
            </a:rPr>
            <a:t>100 %</a:t>
          </a:r>
        </a:p>
      </cdr:txBody>
    </cdr:sp>
  </cdr:relSizeAnchor>
  <cdr:relSizeAnchor xmlns:cdr="http://schemas.openxmlformats.org/drawingml/2006/chartDrawing">
    <cdr:from>
      <cdr:x>0.40945</cdr:x>
      <cdr:y>0.53106</cdr:y>
    </cdr:from>
    <cdr:to>
      <cdr:x>0.49411</cdr:x>
      <cdr:y>0.57075</cdr:y>
    </cdr:to>
    <cdr:sp macro="" textlink="">
      <cdr:nvSpPr>
        <cdr:cNvPr id="16" name="TextBox 6">
          <a:extLst xmlns:a="http://schemas.openxmlformats.org/drawingml/2006/main">
            <a:ext uri="{FF2B5EF4-FFF2-40B4-BE49-F238E27FC236}">
              <a16:creationId xmlns:a16="http://schemas.microsoft.com/office/drawing/2014/main" id="{C8029E97-425C-4B13-967C-4EE8FFC2E4D9}"/>
            </a:ext>
          </a:extLst>
        </cdr:cNvPr>
        <cdr:cNvSpPr txBox="1"/>
      </cdr:nvSpPr>
      <cdr:spPr>
        <a:xfrm xmlns:a="http://schemas.openxmlformats.org/drawingml/2006/main">
          <a:off x="4038445" y="2715096"/>
          <a:ext cx="835014" cy="202918"/>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de-DE" sz="900" b="0" i="0" u="none" strike="noStrike" kern="1200" baseline="0" dirty="0">
              <a:solidFill>
                <a:schemeClr val="tx1">
                  <a:lumMod val="65000"/>
                  <a:lumOff val="35000"/>
                </a:schemeClr>
              </a:solidFill>
              <a:latin typeface="+mj-lt"/>
              <a:ea typeface="+mn-ea"/>
              <a:cs typeface="+mn-cs"/>
            </a:rPr>
            <a:t>+</a:t>
          </a:r>
          <a:r>
            <a:rPr lang="de-DE" sz="1400" kern="1200" dirty="0">
              <a:solidFill>
                <a:schemeClr val="tx1">
                  <a:lumMod val="65000"/>
                  <a:lumOff val="35000"/>
                </a:schemeClr>
              </a:solidFill>
              <a:latin typeface="Amalia" panose="020B0504020203020204" pitchFamily="34" charset="0"/>
            </a:rPr>
            <a:t>100 %</a:t>
          </a:r>
        </a:p>
      </cdr:txBody>
    </cdr:sp>
  </cdr:relSizeAnchor>
  <cdr:relSizeAnchor xmlns:cdr="http://schemas.openxmlformats.org/drawingml/2006/chartDrawing">
    <cdr:from>
      <cdr:x>0.72987</cdr:x>
      <cdr:y>0.25352</cdr:y>
    </cdr:from>
    <cdr:to>
      <cdr:x>0.90509</cdr:x>
      <cdr:y>0.42254</cdr:y>
    </cdr:to>
    <cdr:cxnSp macro="">
      <cdr:nvCxnSpPr>
        <cdr:cNvPr id="18" name="Straight Arrow Connector 17">
          <a:extLst xmlns:a="http://schemas.openxmlformats.org/drawingml/2006/main">
            <a:ext uri="{FF2B5EF4-FFF2-40B4-BE49-F238E27FC236}">
              <a16:creationId xmlns:a16="http://schemas.microsoft.com/office/drawing/2014/main" id="{CF8808B7-2682-4EEF-A330-98050A52C58B}"/>
            </a:ext>
          </a:extLst>
        </cdr:cNvPr>
        <cdr:cNvCxnSpPr/>
      </cdr:nvCxnSpPr>
      <cdr:spPr bwMode="gray">
        <a:xfrm xmlns:a="http://schemas.openxmlformats.org/drawingml/2006/main" flipV="1">
          <a:off x="7198849" y="1296144"/>
          <a:ext cx="1728192" cy="864096"/>
        </a:xfrm>
        <a:prstGeom xmlns:a="http://schemas.openxmlformats.org/drawingml/2006/main" prst="straightConnector1">
          <a:avLst/>
        </a:prstGeom>
        <a:ln xmlns:a="http://schemas.openxmlformats.org/drawingml/2006/main" w="9525">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2618</cdr:x>
      <cdr:y>0.07042</cdr:y>
    </cdr:from>
    <cdr:to>
      <cdr:x>0.9779</cdr:x>
      <cdr:y>0.23944</cdr:y>
    </cdr:to>
    <cdr:cxnSp macro="">
      <cdr:nvCxnSpPr>
        <cdr:cNvPr id="20" name="Straight Arrow Connector 19">
          <a:extLst xmlns:a="http://schemas.openxmlformats.org/drawingml/2006/main">
            <a:ext uri="{FF2B5EF4-FFF2-40B4-BE49-F238E27FC236}">
              <a16:creationId xmlns:a16="http://schemas.microsoft.com/office/drawing/2014/main" id="{49C2E19F-9523-4B9F-AF07-5A7D207D05FE}"/>
            </a:ext>
          </a:extLst>
        </cdr:cNvPr>
        <cdr:cNvCxnSpPr/>
      </cdr:nvCxnSpPr>
      <cdr:spPr bwMode="gray">
        <a:xfrm xmlns:a="http://schemas.openxmlformats.org/drawingml/2006/main" flipV="1">
          <a:off x="9135061" y="360040"/>
          <a:ext cx="510110" cy="864096"/>
        </a:xfrm>
        <a:prstGeom xmlns:a="http://schemas.openxmlformats.org/drawingml/2006/main" prst="straightConnector1">
          <a:avLst/>
        </a:prstGeom>
        <a:ln xmlns:a="http://schemas.openxmlformats.org/drawingml/2006/main" w="9525">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294</cdr:x>
      <cdr:y>0.5493</cdr:y>
    </cdr:from>
    <cdr:to>
      <cdr:x>0.40864</cdr:x>
      <cdr:y>0.74648</cdr:y>
    </cdr:to>
    <cdr:sp macro="" textlink="">
      <cdr:nvSpPr>
        <cdr:cNvPr id="26" name="Rectangle 25">
          <a:extLst xmlns:a="http://schemas.openxmlformats.org/drawingml/2006/main">
            <a:ext uri="{FF2B5EF4-FFF2-40B4-BE49-F238E27FC236}">
              <a16:creationId xmlns:a16="http://schemas.microsoft.com/office/drawing/2014/main" id="{7118F8C0-6D0E-4182-B8D6-8CD1089449E9}"/>
            </a:ext>
          </a:extLst>
        </cdr:cNvPr>
        <cdr:cNvSpPr/>
      </cdr:nvSpPr>
      <cdr:spPr bwMode="gray">
        <a:xfrm xmlns:a="http://schemas.openxmlformats.org/drawingml/2006/main">
          <a:off x="3382425" y="2808312"/>
          <a:ext cx="648072" cy="1008112"/>
        </a:xfrm>
        <a:prstGeom xmlns:a="http://schemas.openxmlformats.org/drawingml/2006/main" prst="rect">
          <a:avLst/>
        </a:prstGeom>
        <a:noFill xmlns:a="http://schemas.openxmlformats.org/drawingml/2006/main"/>
        <a:ln xmlns:a="http://schemas.openxmlformats.org/drawingml/2006/main" w="9525">
          <a:solidFill>
            <a:schemeClr val="tx1">
              <a:lumMod val="50000"/>
              <a:lumOff val="50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de-DE"/>
        </a:p>
      </cdr:txBody>
    </cdr:sp>
  </cdr:relSizeAnchor>
  <cdr:relSizeAnchor xmlns:cdr="http://schemas.openxmlformats.org/drawingml/2006/chartDrawing">
    <cdr:from>
      <cdr:x>0.51085</cdr:x>
      <cdr:y>0.57746</cdr:y>
    </cdr:from>
    <cdr:to>
      <cdr:x>0.53275</cdr:x>
      <cdr:y>0.71831</cdr:y>
    </cdr:to>
    <cdr:sp macro="" textlink="">
      <cdr:nvSpPr>
        <cdr:cNvPr id="27" name="Rectangle 26">
          <a:extLst xmlns:a="http://schemas.openxmlformats.org/drawingml/2006/main">
            <a:ext uri="{FF2B5EF4-FFF2-40B4-BE49-F238E27FC236}">
              <a16:creationId xmlns:a16="http://schemas.microsoft.com/office/drawing/2014/main" id="{709C050D-866F-4413-9A47-F10A58E28689}"/>
            </a:ext>
          </a:extLst>
        </cdr:cNvPr>
        <cdr:cNvSpPr/>
      </cdr:nvSpPr>
      <cdr:spPr bwMode="gray">
        <a:xfrm xmlns:a="http://schemas.openxmlformats.org/drawingml/2006/main">
          <a:off x="5038610" y="2952328"/>
          <a:ext cx="216023" cy="720080"/>
        </a:xfrm>
        <a:prstGeom xmlns:a="http://schemas.openxmlformats.org/drawingml/2006/main" prst="rect">
          <a:avLst/>
        </a:prstGeom>
        <a:noFill xmlns:a="http://schemas.openxmlformats.org/drawingml/2006/main"/>
        <a:ln xmlns:a="http://schemas.openxmlformats.org/drawingml/2006/main" w="9525">
          <a:solidFill>
            <a:schemeClr val="tx1">
              <a:lumMod val="50000"/>
              <a:lumOff val="50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de-DE"/>
        </a:p>
      </cdr:txBody>
    </cdr:sp>
  </cdr:relSizeAnchor>
  <cdr:relSizeAnchor xmlns:cdr="http://schemas.openxmlformats.org/drawingml/2006/chartDrawing">
    <cdr:from>
      <cdr:x>0.70067</cdr:x>
      <cdr:y>0.4507</cdr:y>
    </cdr:from>
    <cdr:to>
      <cdr:x>0.72987</cdr:x>
      <cdr:y>0.59155</cdr:y>
    </cdr:to>
    <cdr:sp macro="" textlink="">
      <cdr:nvSpPr>
        <cdr:cNvPr id="28" name="Rectangle 27">
          <a:extLst xmlns:a="http://schemas.openxmlformats.org/drawingml/2006/main">
            <a:ext uri="{FF2B5EF4-FFF2-40B4-BE49-F238E27FC236}">
              <a16:creationId xmlns:a16="http://schemas.microsoft.com/office/drawing/2014/main" id="{2883869A-47DC-4B53-AB93-00A1F2F77790}"/>
            </a:ext>
          </a:extLst>
        </cdr:cNvPr>
        <cdr:cNvSpPr/>
      </cdr:nvSpPr>
      <cdr:spPr bwMode="gray">
        <a:xfrm xmlns:a="http://schemas.openxmlformats.org/drawingml/2006/main">
          <a:off x="6910817" y="2304256"/>
          <a:ext cx="288032" cy="720080"/>
        </a:xfrm>
        <a:prstGeom xmlns:a="http://schemas.openxmlformats.org/drawingml/2006/main" prst="rect">
          <a:avLst/>
        </a:prstGeom>
        <a:noFill xmlns:a="http://schemas.openxmlformats.org/drawingml/2006/main"/>
        <a:ln xmlns:a="http://schemas.openxmlformats.org/drawingml/2006/main" w="9525">
          <a:solidFill>
            <a:schemeClr val="tx1">
              <a:lumMod val="50000"/>
              <a:lumOff val="50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de-DE"/>
        </a:p>
      </cdr:txBody>
    </cdr:sp>
  </cdr:relSizeAnchor>
  <cdr:relSizeAnchor xmlns:cdr="http://schemas.openxmlformats.org/drawingml/2006/chartDrawing">
    <cdr:from>
      <cdr:x>0.91239</cdr:x>
      <cdr:y>0.26761</cdr:y>
    </cdr:from>
    <cdr:to>
      <cdr:x>0.92699</cdr:x>
      <cdr:y>0.49296</cdr:y>
    </cdr:to>
    <cdr:sp macro="" textlink="">
      <cdr:nvSpPr>
        <cdr:cNvPr id="30" name="Rectangle 29">
          <a:extLst xmlns:a="http://schemas.openxmlformats.org/drawingml/2006/main">
            <a:ext uri="{FF2B5EF4-FFF2-40B4-BE49-F238E27FC236}">
              <a16:creationId xmlns:a16="http://schemas.microsoft.com/office/drawing/2014/main" id="{E0556539-E6BD-4E7F-A390-ECA31F141443}"/>
            </a:ext>
          </a:extLst>
        </cdr:cNvPr>
        <cdr:cNvSpPr/>
      </cdr:nvSpPr>
      <cdr:spPr bwMode="gray">
        <a:xfrm xmlns:a="http://schemas.openxmlformats.org/drawingml/2006/main">
          <a:off x="8999049" y="1368152"/>
          <a:ext cx="144016" cy="1152128"/>
        </a:xfrm>
        <a:prstGeom xmlns:a="http://schemas.openxmlformats.org/drawingml/2006/main" prst="rect">
          <a:avLst/>
        </a:prstGeom>
        <a:noFill xmlns:a="http://schemas.openxmlformats.org/drawingml/2006/main"/>
        <a:ln xmlns:a="http://schemas.openxmlformats.org/drawingml/2006/main" w="9525">
          <a:solidFill>
            <a:schemeClr val="tx1">
              <a:lumMod val="50000"/>
              <a:lumOff val="50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de-DE"/>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2B09697-3DC8-459F-A424-5537DC821292}"/>
              </a:ext>
            </a:extLst>
          </p:cNvPr>
          <p:cNvSpPr>
            <a:spLocks noGrp="1"/>
          </p:cNvSpPr>
          <p:nvPr>
            <p:ph type="hdr" sz="quarter"/>
          </p:nvPr>
        </p:nvSpPr>
        <p:spPr bwMode="gray">
          <a:xfrm>
            <a:off x="1" y="1"/>
            <a:ext cx="2945659" cy="498056"/>
          </a:xfrm>
          <a:prstGeom prst="rect">
            <a:avLst/>
          </a:prstGeom>
        </p:spPr>
        <p:txBody>
          <a:bodyPr vert="horz" lIns="91432" tIns="45716" rIns="91432" bIns="45716" rtlCol="0"/>
          <a:lstStyle>
            <a:lvl1pPr algn="l">
              <a:defRPr sz="1200"/>
            </a:lvl1pPr>
          </a:lstStyle>
          <a:p>
            <a:endParaRPr lang="en-US" sz="1000"/>
          </a:p>
        </p:txBody>
      </p:sp>
      <p:sp>
        <p:nvSpPr>
          <p:cNvPr id="3" name="Date Placeholder 2">
            <a:extLst>
              <a:ext uri="{FF2B5EF4-FFF2-40B4-BE49-F238E27FC236}">
                <a16:creationId xmlns:a16="http://schemas.microsoft.com/office/drawing/2014/main" id="{9D11C9D6-CB8C-492D-AD3C-9F196A7BBC8F}"/>
              </a:ext>
            </a:extLst>
          </p:cNvPr>
          <p:cNvSpPr>
            <a:spLocks noGrp="1"/>
          </p:cNvSpPr>
          <p:nvPr>
            <p:ph type="dt" sz="quarter" idx="1"/>
          </p:nvPr>
        </p:nvSpPr>
        <p:spPr bwMode="gray">
          <a:xfrm>
            <a:off x="3850444" y="1"/>
            <a:ext cx="2945659" cy="498056"/>
          </a:xfrm>
          <a:prstGeom prst="rect">
            <a:avLst/>
          </a:prstGeom>
        </p:spPr>
        <p:txBody>
          <a:bodyPr vert="horz" lIns="91432" tIns="45716" rIns="91432" bIns="45716" rtlCol="0"/>
          <a:lstStyle>
            <a:lvl1pPr algn="r">
              <a:defRPr sz="1200"/>
            </a:lvl1pPr>
          </a:lstStyle>
          <a:p>
            <a:fld id="{99ADA642-7B79-4664-9DA4-A947E042A437}" type="datetimeFigureOut">
              <a:rPr lang="en-US" sz="1000"/>
              <a:t>10/11/2021</a:t>
            </a:fld>
            <a:endParaRPr lang="en-US" sz="1000"/>
          </a:p>
        </p:txBody>
      </p:sp>
      <p:sp>
        <p:nvSpPr>
          <p:cNvPr id="4" name="Footer Placeholder 3">
            <a:extLst>
              <a:ext uri="{FF2B5EF4-FFF2-40B4-BE49-F238E27FC236}">
                <a16:creationId xmlns:a16="http://schemas.microsoft.com/office/drawing/2014/main" id="{46883E90-69E7-4731-846B-B609B52ED93D}"/>
              </a:ext>
            </a:extLst>
          </p:cNvPr>
          <p:cNvSpPr>
            <a:spLocks noGrp="1"/>
          </p:cNvSpPr>
          <p:nvPr>
            <p:ph type="ftr" sz="quarter" idx="2"/>
          </p:nvPr>
        </p:nvSpPr>
        <p:spPr bwMode="gray">
          <a:xfrm>
            <a:off x="1" y="9428585"/>
            <a:ext cx="2945659" cy="498055"/>
          </a:xfrm>
          <a:prstGeom prst="rect">
            <a:avLst/>
          </a:prstGeom>
        </p:spPr>
        <p:txBody>
          <a:bodyPr vert="horz" lIns="91432" tIns="45716" rIns="91432" bIns="45716" rtlCol="0" anchor="b"/>
          <a:lstStyle>
            <a:lvl1pPr algn="l">
              <a:defRPr sz="1200"/>
            </a:lvl1pPr>
          </a:lstStyle>
          <a:p>
            <a:endParaRPr lang="en-US" sz="1000"/>
          </a:p>
        </p:txBody>
      </p:sp>
      <p:sp>
        <p:nvSpPr>
          <p:cNvPr id="5" name="Slide Number Placeholder 4">
            <a:extLst>
              <a:ext uri="{FF2B5EF4-FFF2-40B4-BE49-F238E27FC236}">
                <a16:creationId xmlns:a16="http://schemas.microsoft.com/office/drawing/2014/main" id="{E9FE2879-60E3-4273-87D2-F5B39D244BD4}"/>
              </a:ext>
            </a:extLst>
          </p:cNvPr>
          <p:cNvSpPr>
            <a:spLocks noGrp="1"/>
          </p:cNvSpPr>
          <p:nvPr>
            <p:ph type="sldNum" sz="quarter" idx="3"/>
          </p:nvPr>
        </p:nvSpPr>
        <p:spPr bwMode="gray">
          <a:xfrm>
            <a:off x="3850444" y="9428585"/>
            <a:ext cx="2945659" cy="498055"/>
          </a:xfrm>
          <a:prstGeom prst="rect">
            <a:avLst/>
          </a:prstGeom>
        </p:spPr>
        <p:txBody>
          <a:bodyPr vert="horz" lIns="91432" tIns="45716" rIns="91432" bIns="45716" rtlCol="0" anchor="b"/>
          <a:lstStyle>
            <a:lvl1pPr algn="r">
              <a:defRPr sz="1200"/>
            </a:lvl1pPr>
          </a:lstStyle>
          <a:p>
            <a:fld id="{36235001-C1C8-45D4-9FA3-5A085C63A5FE}" type="slidenum">
              <a:rPr lang="en-US" sz="1000"/>
              <a:t>‹Nr.›</a:t>
            </a:fld>
            <a:endParaRPr lang="en-US" sz="1000"/>
          </a:p>
        </p:txBody>
      </p:sp>
    </p:spTree>
    <p:extLst>
      <p:ext uri="{BB962C8B-B14F-4D97-AF65-F5344CB8AC3E}">
        <p14:creationId xmlns:p14="http://schemas.microsoft.com/office/powerpoint/2010/main" val="1049027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1" y="1"/>
            <a:ext cx="2945659" cy="498056"/>
          </a:xfrm>
          <a:prstGeom prst="rect">
            <a:avLst/>
          </a:prstGeom>
        </p:spPr>
        <p:txBody>
          <a:bodyPr vert="horz" lIns="91432" tIns="45716" rIns="91432" bIns="45716" rtlCol="0"/>
          <a:lstStyle>
            <a:lvl1pPr algn="l">
              <a:defRPr sz="1000"/>
            </a:lvl1pPr>
          </a:lstStyle>
          <a:p>
            <a:endParaRPr lang="en-GB"/>
          </a:p>
        </p:txBody>
      </p:sp>
      <p:sp>
        <p:nvSpPr>
          <p:cNvPr id="3" name="Date Placeholder 2"/>
          <p:cNvSpPr>
            <a:spLocks noGrp="1"/>
          </p:cNvSpPr>
          <p:nvPr>
            <p:ph type="dt" idx="1"/>
          </p:nvPr>
        </p:nvSpPr>
        <p:spPr bwMode="gray">
          <a:xfrm>
            <a:off x="3850444" y="1"/>
            <a:ext cx="2945659" cy="498056"/>
          </a:xfrm>
          <a:prstGeom prst="rect">
            <a:avLst/>
          </a:prstGeom>
        </p:spPr>
        <p:txBody>
          <a:bodyPr vert="horz" lIns="91432" tIns="45716" rIns="91432" bIns="45716" rtlCol="0"/>
          <a:lstStyle>
            <a:lvl1pPr algn="r">
              <a:defRPr sz="1000"/>
            </a:lvl1pPr>
          </a:lstStyle>
          <a:p>
            <a:fld id="{F301697D-CE2C-473B-9F50-AF6F1D9B7316}" type="datetimeFigureOut">
              <a:rPr lang="en-GB" smtClean="0"/>
              <a:pPr/>
              <a:t>11/10/2021</a:t>
            </a:fld>
            <a:endParaRPr lang="en-GB"/>
          </a:p>
        </p:txBody>
      </p:sp>
      <p:sp>
        <p:nvSpPr>
          <p:cNvPr id="4" name="Slide Image Placeholder 3"/>
          <p:cNvSpPr>
            <a:spLocks noGrp="1" noRot="1" noChangeAspect="1"/>
          </p:cNvSpPr>
          <p:nvPr>
            <p:ph type="sldImg" idx="2"/>
          </p:nvPr>
        </p:nvSpPr>
        <p:spPr bwMode="gray">
          <a:xfrm>
            <a:off x="117475" y="898525"/>
            <a:ext cx="6562725" cy="3692525"/>
          </a:xfrm>
          <a:prstGeom prst="rect">
            <a:avLst/>
          </a:prstGeom>
          <a:noFill/>
          <a:ln w="6350">
            <a:solidFill>
              <a:schemeClr val="accent4"/>
            </a:solidFill>
          </a:ln>
        </p:spPr>
        <p:txBody>
          <a:bodyPr vert="horz" lIns="91432" tIns="45716" rIns="91432" bIns="45716" rtlCol="0" anchor="ctr"/>
          <a:lstStyle/>
          <a:p>
            <a:endParaRPr lang="en-GB"/>
          </a:p>
        </p:txBody>
      </p:sp>
      <p:sp>
        <p:nvSpPr>
          <p:cNvPr id="5" name="Notes Placeholder 4"/>
          <p:cNvSpPr>
            <a:spLocks noGrp="1"/>
          </p:cNvSpPr>
          <p:nvPr>
            <p:ph type="body" sz="quarter" idx="3"/>
          </p:nvPr>
        </p:nvSpPr>
        <p:spPr bwMode="gray">
          <a:xfrm>
            <a:off x="1014143" y="4777194"/>
            <a:ext cx="4769388" cy="3908614"/>
          </a:xfrm>
          <a:prstGeom prst="rect">
            <a:avLst/>
          </a:prstGeom>
        </p:spPr>
        <p:txBody>
          <a:bodyPr vert="horz" lIns="91432" tIns="45716" rIns="91432" bIns="4571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bwMode="gray">
          <a:xfrm>
            <a:off x="1" y="9428585"/>
            <a:ext cx="2945659" cy="498055"/>
          </a:xfrm>
          <a:prstGeom prst="rect">
            <a:avLst/>
          </a:prstGeom>
        </p:spPr>
        <p:txBody>
          <a:bodyPr vert="horz" lIns="91432" tIns="45716" rIns="91432" bIns="45716" rtlCol="0" anchor="b"/>
          <a:lstStyle>
            <a:lvl1pPr algn="l">
              <a:defRPr sz="1000"/>
            </a:lvl1pPr>
          </a:lstStyle>
          <a:p>
            <a:endParaRPr lang="en-GB"/>
          </a:p>
        </p:txBody>
      </p:sp>
      <p:sp>
        <p:nvSpPr>
          <p:cNvPr id="7" name="Slide Number Placeholder 6"/>
          <p:cNvSpPr>
            <a:spLocks noGrp="1"/>
          </p:cNvSpPr>
          <p:nvPr>
            <p:ph type="sldNum" sz="quarter" idx="5"/>
          </p:nvPr>
        </p:nvSpPr>
        <p:spPr bwMode="gray">
          <a:xfrm>
            <a:off x="3850444" y="9428585"/>
            <a:ext cx="2945659" cy="498055"/>
          </a:xfrm>
          <a:prstGeom prst="rect">
            <a:avLst/>
          </a:prstGeom>
        </p:spPr>
        <p:txBody>
          <a:bodyPr vert="horz" lIns="91432" tIns="45716" rIns="91432" bIns="45716" rtlCol="0" anchor="b"/>
          <a:lstStyle>
            <a:lvl1pPr algn="r">
              <a:defRPr sz="1000"/>
            </a:lvl1pPr>
          </a:lstStyle>
          <a:p>
            <a:fld id="{DBF5D94C-D8BB-4897-AC52-C11BF87FF59A}" type="slidenum">
              <a:rPr lang="en-GB" smtClean="0"/>
              <a:pPr/>
              <a:t>‹Nr.›</a:t>
            </a:fld>
            <a:endParaRPr lang="en-GB"/>
          </a:p>
        </p:txBody>
      </p:sp>
    </p:spTree>
    <p:extLst>
      <p:ext uri="{BB962C8B-B14F-4D97-AF65-F5344CB8AC3E}">
        <p14:creationId xmlns:p14="http://schemas.microsoft.com/office/powerpoint/2010/main" val="4240912970"/>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000" b="1" kern="1200">
        <a:solidFill>
          <a:schemeClr val="tx1"/>
        </a:solidFill>
        <a:latin typeface="+mn-lt"/>
        <a:ea typeface="+mn-ea"/>
        <a:cs typeface="+mn-cs"/>
      </a:defRPr>
    </a:lvl1pPr>
    <a:lvl2pPr marL="0" algn="l" defTabSz="914400" rtl="0" eaLnBrk="1" latinLnBrk="0" hangingPunct="1">
      <a:spcAft>
        <a:spcPts val="600"/>
      </a:spcAft>
      <a:defRPr sz="1000" kern="1200">
        <a:solidFill>
          <a:schemeClr val="tx1"/>
        </a:solidFill>
        <a:latin typeface="+mn-lt"/>
        <a:ea typeface="+mn-ea"/>
        <a:cs typeface="+mn-cs"/>
      </a:defRPr>
    </a:lvl2pPr>
    <a:lvl3pPr marL="180000" indent="-180000" algn="l" defTabSz="914400" rtl="0" eaLnBrk="1" latinLnBrk="0" hangingPunct="1">
      <a:spcAft>
        <a:spcPts val="600"/>
      </a:spcAft>
      <a:buClr>
        <a:schemeClr val="accent2"/>
      </a:buClr>
      <a:buFont typeface="Wingdings" panose="05000000000000000000" pitchFamily="2" charset="2"/>
      <a:buChar char="§"/>
      <a:defRPr sz="1000" kern="1200">
        <a:solidFill>
          <a:schemeClr val="tx1"/>
        </a:solidFill>
        <a:latin typeface="+mn-lt"/>
        <a:ea typeface="+mn-ea"/>
        <a:cs typeface="+mn-cs"/>
      </a:defRPr>
    </a:lvl3pPr>
    <a:lvl4pPr marL="360000" indent="-180000" algn="l" defTabSz="914400" rtl="0" eaLnBrk="1" latinLnBrk="0" hangingPunct="1">
      <a:spcAft>
        <a:spcPts val="600"/>
      </a:spcAft>
      <a:buClr>
        <a:schemeClr val="accent2"/>
      </a:buClr>
      <a:buFont typeface="Century Gothic" panose="020B0502020202020204" pitchFamily="34" charset="0"/>
      <a:buChar char="–"/>
      <a:defRPr sz="1000" kern="1200">
        <a:solidFill>
          <a:schemeClr val="tx1"/>
        </a:solidFill>
        <a:latin typeface="+mn-lt"/>
        <a:ea typeface="+mn-ea"/>
        <a:cs typeface="+mn-cs"/>
      </a:defRPr>
    </a:lvl4pPr>
    <a:lvl5pPr marL="360000" indent="-180000" algn="l" defTabSz="914400" rtl="0" eaLnBrk="1" latinLnBrk="0" hangingPunct="1">
      <a:spcAft>
        <a:spcPts val="600"/>
      </a:spcAft>
      <a:buClr>
        <a:schemeClr val="accent2"/>
      </a:buClr>
      <a:buFont typeface="Century Gothic" panose="020B0502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BF5D94C-D8BB-4897-AC52-C11BF87FF59A}" type="slidenum">
              <a:rPr lang="en-GB" smtClean="0"/>
              <a:pPr/>
              <a:t>10</a:t>
            </a:fld>
            <a:endParaRPr lang="en-GB"/>
          </a:p>
        </p:txBody>
      </p:sp>
    </p:spTree>
    <p:extLst>
      <p:ext uri="{BB962C8B-B14F-4D97-AF65-F5344CB8AC3E}">
        <p14:creationId xmlns:p14="http://schemas.microsoft.com/office/powerpoint/2010/main" val="4038513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BF5D94C-D8BB-4897-AC52-C11BF87FF59A}" type="slidenum">
              <a:rPr lang="en-GB" smtClean="0"/>
              <a:pPr/>
              <a:t>11</a:t>
            </a:fld>
            <a:endParaRPr lang="en-GB"/>
          </a:p>
        </p:txBody>
      </p:sp>
    </p:spTree>
    <p:extLst>
      <p:ext uri="{BB962C8B-B14F-4D97-AF65-F5344CB8AC3E}">
        <p14:creationId xmlns:p14="http://schemas.microsoft.com/office/powerpoint/2010/main" val="3749778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BF5D94C-D8BB-4897-AC52-C11BF87FF59A}" type="slidenum">
              <a:rPr lang="en-GB" smtClean="0"/>
              <a:pPr/>
              <a:t>12</a:t>
            </a:fld>
            <a:endParaRPr lang="en-GB"/>
          </a:p>
        </p:txBody>
      </p:sp>
    </p:spTree>
    <p:extLst>
      <p:ext uri="{BB962C8B-B14F-4D97-AF65-F5344CB8AC3E}">
        <p14:creationId xmlns:p14="http://schemas.microsoft.com/office/powerpoint/2010/main" val="1805933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BF5D94C-D8BB-4897-AC52-C11BF87FF59A}" type="slidenum">
              <a:rPr lang="en-GB" smtClean="0"/>
              <a:pPr/>
              <a:t>15</a:t>
            </a:fld>
            <a:endParaRPr lang="en-GB"/>
          </a:p>
        </p:txBody>
      </p:sp>
    </p:spTree>
    <p:extLst>
      <p:ext uri="{BB962C8B-B14F-4D97-AF65-F5344CB8AC3E}">
        <p14:creationId xmlns:p14="http://schemas.microsoft.com/office/powerpoint/2010/main" val="4157312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5906" name="Rectangle 2"/>
          <p:cNvSpPr>
            <a:spLocks noGrp="1" noRot="1" noChangeAspect="1" noChangeArrowheads="1" noTextEdit="1"/>
          </p:cNvSpPr>
          <p:nvPr>
            <p:ph type="sldImg"/>
          </p:nvPr>
        </p:nvSpPr>
        <p:spPr>
          <a:xfrm>
            <a:off x="-219075" y="808038"/>
            <a:ext cx="7175500" cy="4037012"/>
          </a:xfrm>
          <a:ln/>
        </p:spPr>
      </p:sp>
      <p:sp>
        <p:nvSpPr>
          <p:cNvPr id="5755907" name="Rectangle 3"/>
          <p:cNvSpPr>
            <a:spLocks noGrp="1" noChangeArrowheads="1"/>
          </p:cNvSpPr>
          <p:nvPr>
            <p:ph type="body" idx="1"/>
          </p:nvPr>
        </p:nvSpPr>
        <p:spPr>
          <a:xfrm>
            <a:off x="898917" y="5120456"/>
            <a:ext cx="4940063" cy="4847591"/>
          </a:xfrm>
        </p:spPr>
        <p:txBody>
          <a:bodyPr/>
          <a:lstStyle/>
          <a:p>
            <a:endParaRPr lang="de-AT"/>
          </a:p>
        </p:txBody>
      </p:sp>
    </p:spTree>
    <p:extLst>
      <p:ext uri="{BB962C8B-B14F-4D97-AF65-F5344CB8AC3E}">
        <p14:creationId xmlns:p14="http://schemas.microsoft.com/office/powerpoint/2010/main" val="1247105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5906" name="Rectangle 2"/>
          <p:cNvSpPr>
            <a:spLocks noGrp="1" noRot="1" noChangeAspect="1" noChangeArrowheads="1" noTextEdit="1"/>
          </p:cNvSpPr>
          <p:nvPr>
            <p:ph type="sldImg"/>
          </p:nvPr>
        </p:nvSpPr>
        <p:spPr>
          <a:xfrm>
            <a:off x="-219075" y="808038"/>
            <a:ext cx="7175500" cy="4037012"/>
          </a:xfrm>
          <a:ln/>
        </p:spPr>
      </p:sp>
      <p:sp>
        <p:nvSpPr>
          <p:cNvPr id="5755907" name="Rectangle 3"/>
          <p:cNvSpPr>
            <a:spLocks noGrp="1" noChangeArrowheads="1"/>
          </p:cNvSpPr>
          <p:nvPr>
            <p:ph type="body" idx="1"/>
          </p:nvPr>
        </p:nvSpPr>
        <p:spPr>
          <a:xfrm>
            <a:off x="898917" y="5120456"/>
            <a:ext cx="4940063" cy="4847591"/>
          </a:xfrm>
        </p:spPr>
        <p:txBody>
          <a:bodyPr/>
          <a:lstStyle/>
          <a:p>
            <a:endParaRPr lang="de-AT"/>
          </a:p>
        </p:txBody>
      </p:sp>
    </p:spTree>
    <p:extLst>
      <p:ext uri="{BB962C8B-B14F-4D97-AF65-F5344CB8AC3E}">
        <p14:creationId xmlns:p14="http://schemas.microsoft.com/office/powerpoint/2010/main" val="663020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5906" name="Rectangle 2"/>
          <p:cNvSpPr>
            <a:spLocks noGrp="1" noRot="1" noChangeAspect="1" noChangeArrowheads="1" noTextEdit="1"/>
          </p:cNvSpPr>
          <p:nvPr>
            <p:ph type="sldImg"/>
          </p:nvPr>
        </p:nvSpPr>
        <p:spPr>
          <a:xfrm>
            <a:off x="-219075" y="808038"/>
            <a:ext cx="7175500" cy="4037012"/>
          </a:xfrm>
          <a:ln/>
        </p:spPr>
      </p:sp>
      <p:sp>
        <p:nvSpPr>
          <p:cNvPr id="5755907" name="Rectangle 3"/>
          <p:cNvSpPr>
            <a:spLocks noGrp="1" noChangeArrowheads="1"/>
          </p:cNvSpPr>
          <p:nvPr>
            <p:ph type="body" idx="1"/>
          </p:nvPr>
        </p:nvSpPr>
        <p:spPr>
          <a:xfrm>
            <a:off x="898917" y="5120456"/>
            <a:ext cx="4940063" cy="4847591"/>
          </a:xfrm>
        </p:spPr>
        <p:txBody>
          <a:bodyPr/>
          <a:lstStyle/>
          <a:p>
            <a:endParaRPr lang="de-AT"/>
          </a:p>
        </p:txBody>
      </p:sp>
    </p:spTree>
    <p:extLst>
      <p:ext uri="{BB962C8B-B14F-4D97-AF65-F5344CB8AC3E}">
        <p14:creationId xmlns:p14="http://schemas.microsoft.com/office/powerpoint/2010/main" val="32768129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jpeg"/><Relationship Id="rId12"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9.pn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userDrawn="1">
            <p:custDataLst>
              <p:tags r:id="rId2"/>
            </p:custDataLst>
            <p:extLst>
              <p:ext uri="{D42A27DB-BD31-4B8C-83A1-F6EECF244321}">
                <p14:modId xmlns:p14="http://schemas.microsoft.com/office/powerpoint/2010/main" val="2471709497"/>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2050" name="think-cell Slide" r:id="rId5" imgW="351" imgH="351" progId="TCLayout.ActiveDocument.1">
                  <p:embed/>
                </p:oleObj>
              </mc:Choice>
              <mc:Fallback>
                <p:oleObj name="think-cell Slide" r:id="rId5"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6"/>
                      <a:stretch>
                        <a:fillRect/>
                      </a:stretch>
                    </p:blipFill>
                    <p:spPr>
                      <a:xfrm>
                        <a:off x="1998" y="1588"/>
                        <a:ext cx="199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52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2" y="0"/>
            <a:ext cx="1344295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634630" y="5869785"/>
            <a:ext cx="10525254" cy="1048545"/>
          </a:xfrm>
        </p:spPr>
        <p:txBody>
          <a:bodyPr lIns="216000" rIns="216000" anchor="t" anchorCtr="0"/>
          <a:lstStyle>
            <a:lvl1pPr marL="0" indent="0" algn="l">
              <a:buNone/>
              <a:defRPr sz="2011" b="0">
                <a:latin typeface="Amalia" panose="020B0504020203020204" pitchFamily="34" charset="0"/>
              </a:defRPr>
            </a:lvl1pPr>
            <a:lvl2pPr marL="0" indent="0" algn="l">
              <a:buNone/>
              <a:defRPr sz="2011">
                <a:solidFill>
                  <a:schemeClr val="tx1"/>
                </a:solidFill>
              </a:defRPr>
            </a:lvl2pPr>
            <a:lvl3pPr marL="0" indent="0" algn="l">
              <a:buNone/>
              <a:defRPr sz="2011">
                <a:solidFill>
                  <a:schemeClr val="tx1"/>
                </a:solidFill>
              </a:defRPr>
            </a:lvl3pPr>
            <a:lvl4pPr marL="0" indent="0" algn="l">
              <a:buNone/>
              <a:defRPr sz="2011">
                <a:solidFill>
                  <a:schemeClr val="tx1"/>
                </a:solidFill>
              </a:defRPr>
            </a:lvl4pPr>
            <a:lvl5pPr marL="0" indent="0" algn="l">
              <a:buNone/>
              <a:defRPr sz="2011">
                <a:solidFill>
                  <a:schemeClr val="tx1"/>
                </a:solidFill>
              </a:defRPr>
            </a:lvl5pPr>
            <a:lvl6pPr marL="0" indent="0" algn="l">
              <a:buNone/>
              <a:defRPr sz="2011">
                <a:solidFill>
                  <a:schemeClr val="tx1"/>
                </a:solidFill>
              </a:defRPr>
            </a:lvl6pPr>
            <a:lvl7pPr marL="0" indent="0" algn="l">
              <a:buNone/>
              <a:defRPr sz="2011">
                <a:solidFill>
                  <a:schemeClr val="tx1"/>
                </a:solidFill>
              </a:defRPr>
            </a:lvl7pPr>
            <a:lvl8pPr marL="0" indent="0" algn="l">
              <a:buNone/>
              <a:defRPr sz="2011">
                <a:solidFill>
                  <a:schemeClr val="tx1"/>
                </a:solidFill>
              </a:defRPr>
            </a:lvl8pPr>
            <a:lvl9pPr marL="0" indent="0" algn="l">
              <a:buNone/>
              <a:defRPr sz="2011">
                <a:solidFill>
                  <a:schemeClr val="tx1"/>
                </a:solidFill>
              </a:defRPr>
            </a:lvl9pPr>
          </a:lstStyle>
          <a:p>
            <a:pPr lvl="0"/>
            <a:r>
              <a:rPr lang="de-DE"/>
              <a:t>Master-Untertitelformat bearbeiten</a:t>
            </a:r>
            <a:endParaRPr lang="en-US"/>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userDrawn="1"/>
        </p:nvCxnSpPr>
        <p:spPr bwMode="gray">
          <a:xfrm>
            <a:off x="2" y="438150"/>
            <a:ext cx="134429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Grafik 6">
            <a:extLst>
              <a:ext uri="{FF2B5EF4-FFF2-40B4-BE49-F238E27FC236}">
                <a16:creationId xmlns:a16="http://schemas.microsoft.com/office/drawing/2014/main" id="{71B8DBAA-EB2A-4477-882A-40F7F00B69C4}"/>
              </a:ext>
            </a:extLst>
          </p:cNvPr>
          <p:cNvPicPr>
            <a:picLocks noChangeAspect="1"/>
          </p:cNvPicPr>
          <p:nvPr userDrawn="1"/>
        </p:nvPicPr>
        <p:blipFill rotWithShape="1">
          <a:blip r:embed="rId7"/>
          <a:srcRect t="19623"/>
          <a:stretch/>
        </p:blipFill>
        <p:spPr>
          <a:xfrm>
            <a:off x="-1" y="4486409"/>
            <a:ext cx="8082208" cy="3074851"/>
          </a:xfrm>
          <a:prstGeom prst="rect">
            <a:avLst/>
          </a:prstGeom>
        </p:spPr>
      </p:pic>
      <p:pic>
        <p:nvPicPr>
          <p:cNvPr id="15" name="Grafik 1">
            <a:extLst>
              <a:ext uri="{FF2B5EF4-FFF2-40B4-BE49-F238E27FC236}">
                <a16:creationId xmlns:a16="http://schemas.microsoft.com/office/drawing/2014/main" id="{433A3CAD-0B1A-497A-8060-F9FC60B75A46}"/>
              </a:ext>
            </a:extLst>
          </p:cNvPr>
          <p:cNvPicPr>
            <a:picLocks noChangeAspect="1"/>
          </p:cNvPicPr>
          <p:nvPr userDrawn="1"/>
        </p:nvPicPr>
        <p:blipFill>
          <a:blip r:embed="rId8"/>
          <a:stretch>
            <a:fillRect/>
          </a:stretch>
        </p:blipFill>
        <p:spPr>
          <a:xfrm>
            <a:off x="0" y="500392"/>
            <a:ext cx="8091198" cy="3986017"/>
          </a:xfrm>
          <a:prstGeom prst="rect">
            <a:avLst/>
          </a:prstGeom>
        </p:spPr>
      </p:pic>
      <p:pic>
        <p:nvPicPr>
          <p:cNvPr id="13" name="Picture 19" descr="A close up of a sign&#10;&#10;Description automatically generated">
            <a:extLst>
              <a:ext uri="{FF2B5EF4-FFF2-40B4-BE49-F238E27FC236}">
                <a16:creationId xmlns:a16="http://schemas.microsoft.com/office/drawing/2014/main" id="{392D479B-7D9C-4CDC-8367-6EEB26A5BE67}"/>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976169" y="-15362"/>
            <a:ext cx="1385840" cy="416072"/>
          </a:xfrm>
          <a:prstGeom prst="rect">
            <a:avLst/>
          </a:prstGeom>
        </p:spPr>
      </p:pic>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634628" y="4975348"/>
            <a:ext cx="10525255" cy="2081094"/>
          </a:xfrm>
          <a:prstGeom prst="rect">
            <a:avLst/>
          </a:prstGeom>
          <a:solidFill>
            <a:schemeClr val="accent1">
              <a:alpha val="74902"/>
            </a:schemeClr>
          </a:solidFill>
        </p:spPr>
        <p:txBody>
          <a:bodyPr wrap="square" lIns="216000" tIns="180000" rIns="216000" bIns="1260000" anchor="b" anchorCtr="0">
            <a:spAutoFit/>
          </a:bodyPr>
          <a:lstStyle>
            <a:lvl1pPr algn="l">
              <a:defRPr sz="4527" b="1">
                <a:latin typeface="Amalia" panose="020B0504020203020204" pitchFamily="34" charset="0"/>
              </a:defRPr>
            </a:lvl1pPr>
          </a:lstStyle>
          <a:p>
            <a:r>
              <a:rPr lang="de-DE"/>
              <a:t>Mastertitelformat bearbeiten</a:t>
            </a:r>
            <a:endParaRPr lang="en-US"/>
          </a:p>
        </p:txBody>
      </p:sp>
      <p:pic>
        <p:nvPicPr>
          <p:cNvPr id="16" name="Picture 15">
            <a:extLst>
              <a:ext uri="{FF2B5EF4-FFF2-40B4-BE49-F238E27FC236}">
                <a16:creationId xmlns:a16="http://schemas.microsoft.com/office/drawing/2014/main" id="{088DD101-4E0F-4803-84C6-BB7D335EF6C4}"/>
              </a:ext>
            </a:extLst>
          </p:cNvPr>
          <p:cNvPicPr>
            <a:picLocks noChangeAspect="1"/>
          </p:cNvPicPr>
          <p:nvPr userDrawn="1"/>
        </p:nvPicPr>
        <p:blipFill rotWithShape="1">
          <a:blip r:embed="rId10"/>
          <a:srcRect r="5830"/>
          <a:stretch/>
        </p:blipFill>
        <p:spPr>
          <a:xfrm>
            <a:off x="8100189" y="5011826"/>
            <a:ext cx="5342761" cy="2522608"/>
          </a:xfrm>
          <a:prstGeom prst="rect">
            <a:avLst/>
          </a:prstGeom>
        </p:spPr>
      </p:pic>
      <p:pic>
        <p:nvPicPr>
          <p:cNvPr id="17" name="Picture 16">
            <a:extLst>
              <a:ext uri="{FF2B5EF4-FFF2-40B4-BE49-F238E27FC236}">
                <a16:creationId xmlns:a16="http://schemas.microsoft.com/office/drawing/2014/main" id="{3BD62A0C-2722-4851-BD80-08ECE99B3B7A}"/>
              </a:ext>
            </a:extLst>
          </p:cNvPr>
          <p:cNvPicPr>
            <a:picLocks noChangeAspect="1"/>
          </p:cNvPicPr>
          <p:nvPr userDrawn="1"/>
        </p:nvPicPr>
        <p:blipFill>
          <a:blip r:embed="rId11"/>
          <a:stretch>
            <a:fillRect/>
          </a:stretch>
        </p:blipFill>
        <p:spPr>
          <a:xfrm>
            <a:off x="8100190" y="2722784"/>
            <a:ext cx="5342760" cy="2279336"/>
          </a:xfrm>
          <a:prstGeom prst="rect">
            <a:avLst/>
          </a:prstGeom>
        </p:spPr>
      </p:pic>
      <p:pic>
        <p:nvPicPr>
          <p:cNvPr id="18" name="Picture 17">
            <a:extLst>
              <a:ext uri="{FF2B5EF4-FFF2-40B4-BE49-F238E27FC236}">
                <a16:creationId xmlns:a16="http://schemas.microsoft.com/office/drawing/2014/main" id="{CDE37D5D-CE44-4186-9E88-391091A5C4DF}"/>
              </a:ext>
            </a:extLst>
          </p:cNvPr>
          <p:cNvPicPr>
            <a:picLocks noChangeAspect="1"/>
          </p:cNvPicPr>
          <p:nvPr userDrawn="1"/>
        </p:nvPicPr>
        <p:blipFill>
          <a:blip r:embed="rId12"/>
          <a:stretch>
            <a:fillRect/>
          </a:stretch>
        </p:blipFill>
        <p:spPr>
          <a:xfrm>
            <a:off x="8100189" y="500392"/>
            <a:ext cx="5342761" cy="2208882"/>
          </a:xfrm>
          <a:prstGeom prst="rect">
            <a:avLst/>
          </a:prstGeom>
        </p:spPr>
      </p:pic>
    </p:spTree>
    <p:extLst>
      <p:ext uri="{BB962C8B-B14F-4D97-AF65-F5344CB8AC3E}">
        <p14:creationId xmlns:p14="http://schemas.microsoft.com/office/powerpoint/2010/main" val="13702753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a:xfrm>
            <a:off x="634631" y="471294"/>
            <a:ext cx="10571473" cy="371854"/>
          </a:xfrm>
        </p:spPr>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08224"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7043098"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a:off x="608224"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7061060"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3">
            <a:extLst>
              <a:ext uri="{FF2B5EF4-FFF2-40B4-BE49-F238E27FC236}">
                <a16:creationId xmlns:a16="http://schemas.microsoft.com/office/drawing/2014/main" id="{D3326A8B-73FA-424D-ADE9-35005B7A8F7E}"/>
              </a:ext>
            </a:extLst>
          </p:cNvPr>
          <p:cNvSpPr>
            <a:spLocks noGrp="1"/>
          </p:cNvSpPr>
          <p:nvPr>
            <p:ph sz="quarter" idx="27"/>
          </p:nvPr>
        </p:nvSpPr>
        <p:spPr>
          <a:xfrm>
            <a:off x="634630" y="1789113"/>
            <a:ext cx="6086846"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3" name="Inhaltsplatzhalter 3">
            <a:extLst>
              <a:ext uri="{FF2B5EF4-FFF2-40B4-BE49-F238E27FC236}">
                <a16:creationId xmlns:a16="http://schemas.microsoft.com/office/drawing/2014/main" id="{9F8E0124-53EB-422F-AE36-690D15448AD2}"/>
              </a:ext>
            </a:extLst>
          </p:cNvPr>
          <p:cNvSpPr>
            <a:spLocks noGrp="1"/>
          </p:cNvSpPr>
          <p:nvPr>
            <p:ph sz="quarter" idx="28"/>
          </p:nvPr>
        </p:nvSpPr>
        <p:spPr>
          <a:xfrm>
            <a:off x="7040787" y="1789113"/>
            <a:ext cx="6086846"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20178121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a:xfrm>
            <a:off x="634628" y="471294"/>
            <a:ext cx="10558842" cy="371848"/>
          </a:xfrm>
        </p:spPr>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64282" y="1371604"/>
            <a:ext cx="8128768" cy="265587"/>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9033161" y="1371600"/>
            <a:ext cx="4091477"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flipV="1">
            <a:off x="673606" y="1656146"/>
            <a:ext cx="8119446" cy="2857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9033161" y="1637218"/>
            <a:ext cx="40914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3">
            <a:extLst>
              <a:ext uri="{FF2B5EF4-FFF2-40B4-BE49-F238E27FC236}">
                <a16:creationId xmlns:a16="http://schemas.microsoft.com/office/drawing/2014/main" id="{7143DA26-E20A-41F0-9F88-7E8AEDD8646A}"/>
              </a:ext>
            </a:extLst>
          </p:cNvPr>
          <p:cNvSpPr>
            <a:spLocks noGrp="1"/>
          </p:cNvSpPr>
          <p:nvPr>
            <p:ph sz="quarter" idx="27"/>
          </p:nvPr>
        </p:nvSpPr>
        <p:spPr>
          <a:xfrm>
            <a:off x="634629" y="1789113"/>
            <a:ext cx="8170344"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5" name="Inhaltsplatzhalter 5">
            <a:extLst>
              <a:ext uri="{FF2B5EF4-FFF2-40B4-BE49-F238E27FC236}">
                <a16:creationId xmlns:a16="http://schemas.microsoft.com/office/drawing/2014/main" id="{D8315B02-4D1D-426D-B3C8-40CA8DFB96E6}"/>
              </a:ext>
            </a:extLst>
          </p:cNvPr>
          <p:cNvSpPr>
            <a:spLocks noGrp="1"/>
          </p:cNvSpPr>
          <p:nvPr>
            <p:ph sz="quarter" idx="28"/>
          </p:nvPr>
        </p:nvSpPr>
        <p:spPr>
          <a:xfrm>
            <a:off x="9048448" y="1789113"/>
            <a:ext cx="4079185"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24346306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651655" y="1371600"/>
            <a:ext cx="3916552" cy="237038"/>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673610" y="1637218"/>
            <a:ext cx="389459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0566E1DD-8A7B-4A97-80A7-1A4B16B40883}"/>
              </a:ext>
            </a:extLst>
          </p:cNvPr>
          <p:cNvSpPr>
            <a:spLocks noGrp="1"/>
          </p:cNvSpPr>
          <p:nvPr>
            <p:ph type="body" sz="quarter" idx="28" hasCustomPrompt="1"/>
          </p:nvPr>
        </p:nvSpPr>
        <p:spPr bwMode="gray">
          <a:xfrm>
            <a:off x="4927412" y="1371600"/>
            <a:ext cx="3916552" cy="237038"/>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22" name="Straight Connector 13">
            <a:extLst>
              <a:ext uri="{FF2B5EF4-FFF2-40B4-BE49-F238E27FC236}">
                <a16:creationId xmlns:a16="http://schemas.microsoft.com/office/drawing/2014/main" id="{F5C9B0E8-80A2-4713-A06C-927492122692}"/>
              </a:ext>
            </a:extLst>
          </p:cNvPr>
          <p:cNvCxnSpPr>
            <a:cxnSpLocks/>
          </p:cNvCxnSpPr>
          <p:nvPr userDrawn="1"/>
        </p:nvCxnSpPr>
        <p:spPr bwMode="gray">
          <a:xfrm>
            <a:off x="4949367" y="1637218"/>
            <a:ext cx="389459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6">
            <a:extLst>
              <a:ext uri="{FF2B5EF4-FFF2-40B4-BE49-F238E27FC236}">
                <a16:creationId xmlns:a16="http://schemas.microsoft.com/office/drawing/2014/main" id="{A479CDF5-1EE9-444F-A0E4-E72E207E55B8}"/>
              </a:ext>
            </a:extLst>
          </p:cNvPr>
          <p:cNvSpPr>
            <a:spLocks noGrp="1"/>
          </p:cNvSpPr>
          <p:nvPr>
            <p:ph type="body" sz="quarter" idx="30" hasCustomPrompt="1"/>
          </p:nvPr>
        </p:nvSpPr>
        <p:spPr bwMode="gray">
          <a:xfrm>
            <a:off x="9211079" y="1371600"/>
            <a:ext cx="3916552" cy="237038"/>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25" name="Straight Connector 13">
            <a:extLst>
              <a:ext uri="{FF2B5EF4-FFF2-40B4-BE49-F238E27FC236}">
                <a16:creationId xmlns:a16="http://schemas.microsoft.com/office/drawing/2014/main" id="{6EDA16D8-0DF0-4B9A-B5E8-B2E91C8391C2}"/>
              </a:ext>
            </a:extLst>
          </p:cNvPr>
          <p:cNvCxnSpPr>
            <a:cxnSpLocks/>
          </p:cNvCxnSpPr>
          <p:nvPr userDrawn="1"/>
        </p:nvCxnSpPr>
        <p:spPr bwMode="gray">
          <a:xfrm>
            <a:off x="9233035" y="1637218"/>
            <a:ext cx="389459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Inhaltsplatzhalter 3">
            <a:extLst>
              <a:ext uri="{FF2B5EF4-FFF2-40B4-BE49-F238E27FC236}">
                <a16:creationId xmlns:a16="http://schemas.microsoft.com/office/drawing/2014/main" id="{FA33D903-30B3-4ADA-A550-0773B5E25345}"/>
              </a:ext>
            </a:extLst>
          </p:cNvPr>
          <p:cNvSpPr>
            <a:spLocks noGrp="1"/>
          </p:cNvSpPr>
          <p:nvPr>
            <p:ph sz="quarter" idx="31"/>
          </p:nvPr>
        </p:nvSpPr>
        <p:spPr>
          <a:xfrm>
            <a:off x="634630" y="1789113"/>
            <a:ext cx="3963434"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6" name="Inhaltsplatzhalter 3">
            <a:extLst>
              <a:ext uri="{FF2B5EF4-FFF2-40B4-BE49-F238E27FC236}">
                <a16:creationId xmlns:a16="http://schemas.microsoft.com/office/drawing/2014/main" id="{776B8A94-73C4-474A-BA9C-DF7D88C552F3}"/>
              </a:ext>
            </a:extLst>
          </p:cNvPr>
          <p:cNvSpPr>
            <a:spLocks noGrp="1"/>
          </p:cNvSpPr>
          <p:nvPr>
            <p:ph sz="quarter" idx="32"/>
          </p:nvPr>
        </p:nvSpPr>
        <p:spPr>
          <a:xfrm>
            <a:off x="4898437" y="1789113"/>
            <a:ext cx="3963434"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7" name="Inhaltsplatzhalter 3">
            <a:extLst>
              <a:ext uri="{FF2B5EF4-FFF2-40B4-BE49-F238E27FC236}">
                <a16:creationId xmlns:a16="http://schemas.microsoft.com/office/drawing/2014/main" id="{A9A5E772-9314-4702-8479-409B8388B0F6}"/>
              </a:ext>
            </a:extLst>
          </p:cNvPr>
          <p:cNvSpPr>
            <a:spLocks noGrp="1"/>
          </p:cNvSpPr>
          <p:nvPr>
            <p:ph sz="quarter" idx="33"/>
          </p:nvPr>
        </p:nvSpPr>
        <p:spPr>
          <a:xfrm>
            <a:off x="9220587" y="1789113"/>
            <a:ext cx="3907046" cy="5129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7213865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06869"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7017836"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a:off x="628821"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7035797"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526F2951-26C2-414F-AD6D-C99A3D5E9A68}"/>
              </a:ext>
            </a:extLst>
          </p:cNvPr>
          <p:cNvSpPr>
            <a:spLocks noGrp="1"/>
          </p:cNvSpPr>
          <p:nvPr>
            <p:ph type="body" sz="quarter" idx="29" hasCustomPrompt="1"/>
          </p:nvPr>
        </p:nvSpPr>
        <p:spPr bwMode="gray">
          <a:xfrm>
            <a:off x="606869" y="4385341"/>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hasCustomPrompt="1"/>
          </p:nvPr>
        </p:nvSpPr>
        <p:spPr bwMode="gray">
          <a:xfrm>
            <a:off x="7017836" y="4385341"/>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24" name="Straight Connector 23">
            <a:extLst>
              <a:ext uri="{FF2B5EF4-FFF2-40B4-BE49-F238E27FC236}">
                <a16:creationId xmlns:a16="http://schemas.microsoft.com/office/drawing/2014/main" id="{CAC32974-6F9C-4FC4-9118-4A47212B8AAE}"/>
              </a:ext>
            </a:extLst>
          </p:cNvPr>
          <p:cNvCxnSpPr>
            <a:cxnSpLocks/>
          </p:cNvCxnSpPr>
          <p:nvPr userDrawn="1"/>
        </p:nvCxnSpPr>
        <p:spPr bwMode="gray">
          <a:xfrm>
            <a:off x="628821" y="4650959"/>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38F8139-A83E-4717-87B2-7BE15024C55C}"/>
              </a:ext>
            </a:extLst>
          </p:cNvPr>
          <p:cNvCxnSpPr>
            <a:cxnSpLocks/>
          </p:cNvCxnSpPr>
          <p:nvPr userDrawn="1"/>
        </p:nvCxnSpPr>
        <p:spPr bwMode="gray">
          <a:xfrm>
            <a:off x="7035797" y="4650959"/>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Inhaltsplatzhalter 3">
            <a:extLst>
              <a:ext uri="{FF2B5EF4-FFF2-40B4-BE49-F238E27FC236}">
                <a16:creationId xmlns:a16="http://schemas.microsoft.com/office/drawing/2014/main" id="{531B6A71-BFF3-4F42-B15C-6FAED95A564B}"/>
              </a:ext>
            </a:extLst>
          </p:cNvPr>
          <p:cNvSpPr>
            <a:spLocks noGrp="1"/>
          </p:cNvSpPr>
          <p:nvPr>
            <p:ph sz="quarter" idx="31"/>
          </p:nvPr>
        </p:nvSpPr>
        <p:spPr>
          <a:xfrm>
            <a:off x="634630" y="1785875"/>
            <a:ext cx="6086846" cy="21019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6" name="Inhaltsplatzhalter 3">
            <a:extLst>
              <a:ext uri="{FF2B5EF4-FFF2-40B4-BE49-F238E27FC236}">
                <a16:creationId xmlns:a16="http://schemas.microsoft.com/office/drawing/2014/main" id="{FFABF222-C99C-435E-AAE0-2AEBF6343E73}"/>
              </a:ext>
            </a:extLst>
          </p:cNvPr>
          <p:cNvSpPr>
            <a:spLocks noGrp="1"/>
          </p:cNvSpPr>
          <p:nvPr>
            <p:ph sz="quarter" idx="32"/>
          </p:nvPr>
        </p:nvSpPr>
        <p:spPr>
          <a:xfrm>
            <a:off x="7038791" y="1785875"/>
            <a:ext cx="6086846" cy="21019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7" name="Inhaltsplatzhalter 3">
            <a:extLst>
              <a:ext uri="{FF2B5EF4-FFF2-40B4-BE49-F238E27FC236}">
                <a16:creationId xmlns:a16="http://schemas.microsoft.com/office/drawing/2014/main" id="{0AA2D166-3823-4105-BD27-D7A67E044E9C}"/>
              </a:ext>
            </a:extLst>
          </p:cNvPr>
          <p:cNvSpPr>
            <a:spLocks noGrp="1"/>
          </p:cNvSpPr>
          <p:nvPr>
            <p:ph sz="quarter" idx="33"/>
          </p:nvPr>
        </p:nvSpPr>
        <p:spPr>
          <a:xfrm>
            <a:off x="645075" y="4816379"/>
            <a:ext cx="6086846" cy="21019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8" name="Inhaltsplatzhalter 3">
            <a:extLst>
              <a:ext uri="{FF2B5EF4-FFF2-40B4-BE49-F238E27FC236}">
                <a16:creationId xmlns:a16="http://schemas.microsoft.com/office/drawing/2014/main" id="{6DFF572B-A1C0-4BA5-A1A4-A9FAF8D608F8}"/>
              </a:ext>
            </a:extLst>
          </p:cNvPr>
          <p:cNvSpPr>
            <a:spLocks noGrp="1"/>
          </p:cNvSpPr>
          <p:nvPr>
            <p:ph sz="quarter" idx="34"/>
          </p:nvPr>
        </p:nvSpPr>
        <p:spPr>
          <a:xfrm>
            <a:off x="7049236" y="4816379"/>
            <a:ext cx="6086846" cy="21019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16239358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de-DE"/>
              <a:t>Mastertitelformat bearbeiten</a:t>
            </a:r>
            <a:endParaRPr lang="en-US"/>
          </a:p>
        </p:txBody>
      </p:sp>
      <p:sp>
        <p:nvSpPr>
          <p:cNvPr id="5" name="Inhaltsplatzhalter 3">
            <a:extLst>
              <a:ext uri="{FF2B5EF4-FFF2-40B4-BE49-F238E27FC236}">
                <a16:creationId xmlns:a16="http://schemas.microsoft.com/office/drawing/2014/main" id="{0549A192-32F6-4DA3-909C-29C38DA2A2BF}"/>
              </a:ext>
            </a:extLst>
          </p:cNvPr>
          <p:cNvSpPr>
            <a:spLocks noGrp="1"/>
          </p:cNvSpPr>
          <p:nvPr>
            <p:ph sz="quarter" idx="31"/>
          </p:nvPr>
        </p:nvSpPr>
        <p:spPr>
          <a:xfrm>
            <a:off x="634630" y="1417639"/>
            <a:ext cx="6086846"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Inhaltsplatzhalter 3">
            <a:extLst>
              <a:ext uri="{FF2B5EF4-FFF2-40B4-BE49-F238E27FC236}">
                <a16:creationId xmlns:a16="http://schemas.microsoft.com/office/drawing/2014/main" id="{988C05ED-49FD-4B97-97E2-56D767B1AB33}"/>
              </a:ext>
            </a:extLst>
          </p:cNvPr>
          <p:cNvSpPr>
            <a:spLocks noGrp="1"/>
          </p:cNvSpPr>
          <p:nvPr>
            <p:ph sz="quarter" idx="32"/>
          </p:nvPr>
        </p:nvSpPr>
        <p:spPr>
          <a:xfrm>
            <a:off x="7040787" y="1417639"/>
            <a:ext cx="6086846"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29498232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1D05D9-0CA9-4E54-A7D7-E880F863B256}"/>
              </a:ext>
            </a:extLst>
          </p:cNvPr>
          <p:cNvSpPr>
            <a:spLocks noGrp="1"/>
          </p:cNvSpPr>
          <p:nvPr>
            <p:ph type="title"/>
          </p:nvPr>
        </p:nvSpPr>
        <p:spPr bwMode="gray"/>
        <p:txBody>
          <a:bodyPr/>
          <a:lstStyle/>
          <a:p>
            <a:r>
              <a:rPr lang="de-DE"/>
              <a:t>Mastertitelformat bearbeiten</a:t>
            </a:r>
            <a:endParaRPr lang="en-US"/>
          </a:p>
        </p:txBody>
      </p:sp>
      <p:sp>
        <p:nvSpPr>
          <p:cNvPr id="5" name="Inhaltsplatzhalter 4">
            <a:extLst>
              <a:ext uri="{FF2B5EF4-FFF2-40B4-BE49-F238E27FC236}">
                <a16:creationId xmlns:a16="http://schemas.microsoft.com/office/drawing/2014/main" id="{79548BF3-4A8B-4DCD-9674-043F3D0475AB}"/>
              </a:ext>
            </a:extLst>
          </p:cNvPr>
          <p:cNvSpPr>
            <a:spLocks noGrp="1"/>
          </p:cNvSpPr>
          <p:nvPr>
            <p:ph sz="quarter" idx="10"/>
          </p:nvPr>
        </p:nvSpPr>
        <p:spPr>
          <a:xfrm>
            <a:off x="634630" y="1417639"/>
            <a:ext cx="12493003"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1586952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ext (2)">
    <p:spTree>
      <p:nvGrpSpPr>
        <p:cNvPr id="1" name=""/>
        <p:cNvGrpSpPr/>
        <p:nvPr/>
      </p:nvGrpSpPr>
      <p:grpSpPr>
        <a:xfrm>
          <a:off x="0" y="0"/>
          <a:ext cx="0" cy="0"/>
          <a:chOff x="0" y="0"/>
          <a:chExt cx="0" cy="0"/>
        </a:xfrm>
      </p:grpSpPr>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7673420" y="1790704"/>
            <a:ext cx="5451220" cy="5125245"/>
          </a:xfrm>
        </p:spPr>
        <p:txBody>
          <a:bodyPr/>
          <a:lstStyle>
            <a:lvl1pPr>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36730" y="1371600"/>
            <a:ext cx="6742433"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7673420" y="1371600"/>
            <a:ext cx="5451220"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a:off x="658682" y="1637218"/>
            <a:ext cx="67259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7673421" y="1637218"/>
            <a:ext cx="545421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able Placeholder 16">
            <a:extLst>
              <a:ext uri="{FF2B5EF4-FFF2-40B4-BE49-F238E27FC236}">
                <a16:creationId xmlns:a16="http://schemas.microsoft.com/office/drawing/2014/main" id="{FFB4C636-F608-4BA0-8D9F-9989C7FCE4B0}"/>
              </a:ext>
            </a:extLst>
          </p:cNvPr>
          <p:cNvSpPr>
            <a:spLocks noGrp="1"/>
          </p:cNvSpPr>
          <p:nvPr>
            <p:ph type="tbl" sz="quarter" idx="27"/>
          </p:nvPr>
        </p:nvSpPr>
        <p:spPr bwMode="gray">
          <a:xfrm>
            <a:off x="658682" y="1790703"/>
            <a:ext cx="6720478" cy="5125237"/>
          </a:xfrm>
        </p:spPr>
        <p:txBody>
          <a:bodyPr/>
          <a:lstStyle/>
          <a:p>
            <a:r>
              <a:rPr lang="de-DE"/>
              <a:t>Tabelle durch Klicken auf Symbol hinzufügen</a:t>
            </a:r>
            <a:endParaRPr lang="en-US"/>
          </a:p>
        </p:txBody>
      </p:sp>
    </p:spTree>
    <p:extLst>
      <p:ext uri="{BB962C8B-B14F-4D97-AF65-F5344CB8AC3E}">
        <p14:creationId xmlns:p14="http://schemas.microsoft.com/office/powerpoint/2010/main" val="31092276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06869"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hasCustomPrompt="1"/>
          </p:nvPr>
        </p:nvSpPr>
        <p:spPr bwMode="gray">
          <a:xfrm>
            <a:off x="7017836" y="1371600"/>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a:off x="628821"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userDrawn="1"/>
        </p:nvCxnSpPr>
        <p:spPr bwMode="gray">
          <a:xfrm>
            <a:off x="7035797" y="1637218"/>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hasCustomPrompt="1"/>
          </p:nvPr>
        </p:nvSpPr>
        <p:spPr bwMode="gray">
          <a:xfrm>
            <a:off x="7017836" y="4385341"/>
            <a:ext cx="6106802" cy="237046"/>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userDrawn="1"/>
        </p:nvCxnSpPr>
        <p:spPr bwMode="gray">
          <a:xfrm>
            <a:off x="7035797" y="4650959"/>
            <a:ext cx="608884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050D4A86-2B2E-4975-9965-965FE854B5F3}"/>
              </a:ext>
            </a:extLst>
          </p:cNvPr>
          <p:cNvSpPr>
            <a:spLocks noGrp="1"/>
          </p:cNvSpPr>
          <p:nvPr>
            <p:ph sz="quarter" idx="33"/>
          </p:nvPr>
        </p:nvSpPr>
        <p:spPr>
          <a:xfrm>
            <a:off x="634630" y="3779843"/>
            <a:ext cx="6086846" cy="3138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Inhaltsplatzhalter 5">
            <a:extLst>
              <a:ext uri="{FF2B5EF4-FFF2-40B4-BE49-F238E27FC236}">
                <a16:creationId xmlns:a16="http://schemas.microsoft.com/office/drawing/2014/main" id="{AD0F2DCB-DB4F-4834-88FF-088B06D157A3}"/>
              </a:ext>
            </a:extLst>
          </p:cNvPr>
          <p:cNvSpPr>
            <a:spLocks noGrp="1"/>
          </p:cNvSpPr>
          <p:nvPr>
            <p:ph sz="quarter" idx="34"/>
          </p:nvPr>
        </p:nvSpPr>
        <p:spPr>
          <a:xfrm>
            <a:off x="634630" y="1760538"/>
            <a:ext cx="6086846" cy="17907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2" name="Inhaltsplatzhalter 11">
            <a:extLst>
              <a:ext uri="{FF2B5EF4-FFF2-40B4-BE49-F238E27FC236}">
                <a16:creationId xmlns:a16="http://schemas.microsoft.com/office/drawing/2014/main" id="{CCADC414-999D-47DC-8CB2-92712A879B04}"/>
              </a:ext>
            </a:extLst>
          </p:cNvPr>
          <p:cNvSpPr>
            <a:spLocks noGrp="1"/>
          </p:cNvSpPr>
          <p:nvPr>
            <p:ph sz="quarter" idx="35"/>
          </p:nvPr>
        </p:nvSpPr>
        <p:spPr>
          <a:xfrm>
            <a:off x="7038792" y="1800230"/>
            <a:ext cx="6088841" cy="197961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15" name="Inhaltsplatzhalter 14">
            <a:extLst>
              <a:ext uri="{FF2B5EF4-FFF2-40B4-BE49-F238E27FC236}">
                <a16:creationId xmlns:a16="http://schemas.microsoft.com/office/drawing/2014/main" id="{83CED556-CF8F-4052-98EC-6F9B1DAC261D}"/>
              </a:ext>
            </a:extLst>
          </p:cNvPr>
          <p:cNvSpPr>
            <a:spLocks noGrp="1"/>
          </p:cNvSpPr>
          <p:nvPr>
            <p:ph sz="quarter" idx="36"/>
          </p:nvPr>
        </p:nvSpPr>
        <p:spPr>
          <a:xfrm>
            <a:off x="7038792" y="4786313"/>
            <a:ext cx="6088841" cy="2132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20114766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CBA2A-48B0-4876-8013-FC72DEEE489C}"/>
              </a:ext>
            </a:extLst>
          </p:cNvPr>
          <p:cNvSpPr>
            <a:spLocks noGrp="1"/>
          </p:cNvSpPr>
          <p:nvPr>
            <p:ph type="title"/>
          </p:nvPr>
        </p:nvSpPr>
        <p:spPr bwMode="gray"/>
        <p:txBody>
          <a:bodyPr/>
          <a:lstStyle/>
          <a:p>
            <a:r>
              <a:rPr lang="de-DE"/>
              <a:t>Mastertitelformat bearbeiten</a:t>
            </a:r>
            <a:endParaRPr lang="en-US"/>
          </a:p>
        </p:txBody>
      </p:sp>
    </p:spTree>
    <p:extLst>
      <p:ext uri="{BB962C8B-B14F-4D97-AF65-F5344CB8AC3E}">
        <p14:creationId xmlns:p14="http://schemas.microsoft.com/office/powerpoint/2010/main" val="16676716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8" name="Text Placeholder 24">
            <a:extLst>
              <a:ext uri="{FF2B5EF4-FFF2-40B4-BE49-F238E27FC236}">
                <a16:creationId xmlns:a16="http://schemas.microsoft.com/office/drawing/2014/main" id="{46248FCC-5951-49F9-8508-726438B7B1EF}"/>
              </a:ext>
            </a:extLst>
          </p:cNvPr>
          <p:cNvSpPr txBox="1">
            <a:spLocks/>
          </p:cNvSpPr>
          <p:nvPr/>
        </p:nvSpPr>
        <p:spPr bwMode="gray">
          <a:xfrm>
            <a:off x="634630" y="1509713"/>
            <a:ext cx="12493003" cy="5657318"/>
          </a:xfrm>
          <a:prstGeom prst="rect">
            <a:avLst/>
          </a:prstGeom>
        </p:spPr>
        <p:txBody>
          <a:bodyPr wrap="square" lIns="0" tIns="0" rIns="0" bIns="0">
            <a:spAutoFit/>
          </a:bodyPr>
          <a:lstStyle>
            <a:lvl1pPr marL="0" indent="0" algn="l" defTabSz="802020" rtl="0" eaLnBrk="1" latinLnBrk="0" hangingPunct="1">
              <a:lnSpc>
                <a:spcPct val="120000"/>
              </a:lnSpc>
              <a:spcBef>
                <a:spcPts val="0"/>
              </a:spcBef>
              <a:spcAft>
                <a:spcPts val="600"/>
              </a:spcAft>
              <a:buFont typeface="Symbol" panose="05050102010706020507" pitchFamily="18" charset="2"/>
              <a:buNone/>
              <a:defRPr sz="1000" b="1" kern="1200">
                <a:solidFill>
                  <a:schemeClr val="tx1"/>
                </a:solidFill>
                <a:latin typeface="+mn-lt"/>
                <a:ea typeface="+mn-ea"/>
                <a:cs typeface="+mn-cs"/>
              </a:defRPr>
            </a:lvl1pPr>
            <a:lvl2pPr marL="0" indent="0" algn="l" defTabSz="802020" rtl="0" eaLnBrk="1" latinLnBrk="0" hangingPunct="1">
              <a:lnSpc>
                <a:spcPct val="120000"/>
              </a:lnSpc>
              <a:spcBef>
                <a:spcPts val="0"/>
              </a:spcBef>
              <a:spcAft>
                <a:spcPts val="600"/>
              </a:spcAft>
              <a:buFont typeface="Symbol" panose="05050102010706020507" pitchFamily="18" charset="2"/>
              <a:buNone/>
              <a:defRPr sz="1000" kern="1200">
                <a:solidFill>
                  <a:schemeClr val="tx1"/>
                </a:solidFill>
                <a:latin typeface="+mn-lt"/>
                <a:ea typeface="+mn-ea"/>
                <a:cs typeface="+mn-cs"/>
              </a:defRPr>
            </a:lvl2pPr>
            <a:lvl3pPr marL="180000" indent="-180000" algn="l" defTabSz="802020" rtl="0" eaLnBrk="1" latinLnBrk="0" hangingPunct="1">
              <a:lnSpc>
                <a:spcPct val="120000"/>
              </a:lnSpc>
              <a:spcBef>
                <a:spcPts val="0"/>
              </a:spcBef>
              <a:spcAft>
                <a:spcPts val="600"/>
              </a:spcAft>
              <a:buClr>
                <a:schemeClr val="accent2"/>
              </a:buClr>
              <a:buFont typeface="Wingdings" panose="05000000000000000000" pitchFamily="2" charset="2"/>
              <a:buChar char="§"/>
              <a:defRPr sz="1000" kern="1200">
                <a:solidFill>
                  <a:schemeClr val="tx1"/>
                </a:solidFill>
                <a:latin typeface="+mn-lt"/>
                <a:ea typeface="+mn-ea"/>
                <a:cs typeface="+mn-cs"/>
              </a:defRPr>
            </a:lvl3pPr>
            <a:lvl4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4pPr>
            <a:lvl5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5pPr>
            <a:lvl6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6pPr>
            <a:lvl7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7pPr>
            <a:lvl8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8pPr>
            <a:lvl9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9pPr>
          </a:lstStyle>
          <a:p>
            <a:r>
              <a:rPr lang="en-US" sz="1509">
                <a:solidFill>
                  <a:schemeClr val="accent3"/>
                </a:solidFill>
                <a:latin typeface="Amalia" panose="020B0504020203020204" pitchFamily="34" charset="0"/>
              </a:rPr>
              <a:t>DISCLAIMER </a:t>
            </a:r>
          </a:p>
          <a:p>
            <a:r>
              <a:rPr lang="en-US" sz="1509" b="0">
                <a:latin typeface="Amalia" panose="020B0504020203020204" pitchFamily="34" charset="0"/>
              </a:rPr>
              <a:t>This presentation is provided for information purposes only and it is not intended to, nor does it constitute a contractual commitment or otherwise create any obligation on behalf of Raiffeisen Bank International and/or any of its affiliates whatsoever. Information contained in this presentation is not intended to be, nor should it be construed as, and does not constitute an opinion or an offer, invitation, advertisement, solicitation, financial analyses, investment advice or any recommendation relating to transactions in securities or other financial instruments by or on behalf of Raiffeisen Bank International. </a:t>
            </a:r>
          </a:p>
          <a:p>
            <a:endParaRPr lang="en-US" sz="1509" b="0">
              <a:latin typeface="Amalia" panose="020B0504020203020204" pitchFamily="34" charset="0"/>
            </a:endParaRPr>
          </a:p>
          <a:p>
            <a:r>
              <a:rPr lang="en-US" sz="1509" b="0">
                <a:latin typeface="Amalia" panose="020B0504020203020204" pitchFamily="34" charset="0"/>
              </a:rPr>
              <a:t>Information in this presentation reflect prevailing conditions and views as of this date, which are accordingly subject to change. </a:t>
            </a:r>
            <a:br>
              <a:rPr lang="en-US" sz="1509" b="0">
                <a:latin typeface="Amalia" panose="020B0504020203020204" pitchFamily="34" charset="0"/>
              </a:rPr>
            </a:br>
            <a:r>
              <a:rPr lang="en-US" sz="1509" b="0">
                <a:latin typeface="Amalia" panose="020B0504020203020204" pitchFamily="34" charset="0"/>
              </a:rPr>
              <a:t>Raiffeisen Bank International assumes no responsibility or liability for and makes no guarantees, undertakings, representations or warranties in connection with the reliability, accuracy, completeness, up-to-date nature or for the fitness for a particular purpose of any information provided in this presentation at this time or at any time in the future and does not accept any liability whatsoever arising from any errors </a:t>
            </a:r>
            <a:br>
              <a:rPr lang="en-US" sz="1509" b="0">
                <a:latin typeface="Amalia" panose="020B0504020203020204" pitchFamily="34" charset="0"/>
              </a:rPr>
            </a:br>
            <a:r>
              <a:rPr lang="en-US" sz="1509" b="0">
                <a:latin typeface="Amalia" panose="020B0504020203020204" pitchFamily="34" charset="0"/>
              </a:rPr>
              <a:t>or omissions. Raiffeisen Bank International has no responsibility to amend or to update this presentation for events and or circumstances occurring after the date hereof, in case Raiffeisen Bank International obtains or should have obtained any information, which would negatively affect any statement made herein. </a:t>
            </a:r>
          </a:p>
          <a:p>
            <a:endParaRPr lang="en-US" sz="1509" b="0">
              <a:latin typeface="Amalia" panose="020B0504020203020204" pitchFamily="34" charset="0"/>
            </a:endParaRPr>
          </a:p>
          <a:p>
            <a:r>
              <a:rPr lang="en-US" sz="1509" b="0">
                <a:latin typeface="Amalia" panose="020B0504020203020204" pitchFamily="34" charset="0"/>
              </a:rPr>
              <a:t>Information, content, graphics, text, designs, trade marks, trade names and logos contained in this presentation are protected by trade mark, copyright and other intellectual property laws under national laws and international treaties. Reproduction, representation or translation in part or in whole of the contents of this presentation by whatever process are prohibited without Raiffeisen Bank International´s prior permission. No extracts of this presentation may be forwarded separately or as part of a larger work without Raiffeisen Bank International’s prior permission.</a:t>
            </a:r>
          </a:p>
        </p:txBody>
      </p:sp>
    </p:spTree>
    <p:extLst>
      <p:ext uri="{BB962C8B-B14F-4D97-AF65-F5344CB8AC3E}">
        <p14:creationId xmlns:p14="http://schemas.microsoft.com/office/powerpoint/2010/main" val="371076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4BC3A9F6-0C35-4E1B-8B84-0F64552EAA52}"/>
              </a:ext>
            </a:extLst>
          </p:cNvPr>
          <p:cNvPicPr>
            <a:picLocks noChangeAspect="1"/>
          </p:cNvPicPr>
          <p:nvPr userDrawn="1"/>
        </p:nvPicPr>
        <p:blipFill rotWithShape="1">
          <a:blip r:embed="rId5"/>
          <a:srcRect b="11234"/>
          <a:stretch/>
        </p:blipFill>
        <p:spPr>
          <a:xfrm>
            <a:off x="2" y="442163"/>
            <a:ext cx="13442950" cy="7119100"/>
          </a:xfrm>
          <a:prstGeom prst="rect">
            <a:avLst/>
          </a:prstGeom>
        </p:spPr>
      </p:pic>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userDrawn="1">
            <p:custDataLst>
              <p:tags r:id="rId2"/>
            </p:custDataLst>
            <p:extLst>
              <p:ext uri="{D42A27DB-BD31-4B8C-83A1-F6EECF244321}">
                <p14:modId xmlns:p14="http://schemas.microsoft.com/office/powerpoint/2010/main" val="3490893076"/>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3074" name="think-cell Slide" r:id="rId6" imgW="351" imgH="351" progId="TCLayout.ActiveDocument.1">
                  <p:embed/>
                </p:oleObj>
              </mc:Choice>
              <mc:Fallback>
                <p:oleObj name="think-cell Slide" r:id="rId6"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7"/>
                      <a:stretch>
                        <a:fillRect/>
                      </a:stretch>
                    </p:blipFill>
                    <p:spPr>
                      <a:xfrm>
                        <a:off x="1998" y="1588"/>
                        <a:ext cx="199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52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2" y="0"/>
            <a:ext cx="1344295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634628" y="4975348"/>
            <a:ext cx="10525255" cy="2081094"/>
          </a:xfrm>
          <a:prstGeom prst="rect">
            <a:avLst/>
          </a:prstGeom>
          <a:solidFill>
            <a:schemeClr val="accent1">
              <a:alpha val="74902"/>
            </a:schemeClr>
          </a:solidFill>
        </p:spPr>
        <p:txBody>
          <a:bodyPr wrap="square" lIns="216000" tIns="180000" rIns="216000" bIns="1260000" anchor="b" anchorCtr="0">
            <a:spAutoFit/>
          </a:bodyPr>
          <a:lstStyle>
            <a:lvl1pPr algn="l">
              <a:defRPr sz="4527" b="1">
                <a:latin typeface="Amalia" panose="020B0504020203020204" pitchFamily="34" charset="0"/>
              </a:defRPr>
            </a:lvl1pPr>
          </a:lstStyle>
          <a:p>
            <a:r>
              <a:rPr lang="de-DE"/>
              <a:t>Mastertitelformat bearbeiten</a:t>
            </a:r>
            <a:endParaRPr lang="en-US"/>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634630" y="5869785"/>
            <a:ext cx="10525254" cy="1048545"/>
          </a:xfrm>
        </p:spPr>
        <p:txBody>
          <a:bodyPr lIns="216000" rIns="216000" anchor="t" anchorCtr="0"/>
          <a:lstStyle>
            <a:lvl1pPr marL="0" indent="0" algn="l">
              <a:buNone/>
              <a:defRPr sz="2011" b="0">
                <a:latin typeface="Amalia" panose="020B0504020203020204" pitchFamily="34" charset="0"/>
              </a:defRPr>
            </a:lvl1pPr>
            <a:lvl2pPr marL="0" indent="0" algn="l">
              <a:buNone/>
              <a:defRPr sz="2011">
                <a:solidFill>
                  <a:schemeClr val="tx1"/>
                </a:solidFill>
              </a:defRPr>
            </a:lvl2pPr>
            <a:lvl3pPr marL="0" indent="0" algn="l">
              <a:buNone/>
              <a:defRPr sz="2011">
                <a:solidFill>
                  <a:schemeClr val="tx1"/>
                </a:solidFill>
              </a:defRPr>
            </a:lvl3pPr>
            <a:lvl4pPr marL="0" indent="0" algn="l">
              <a:buNone/>
              <a:defRPr sz="2011">
                <a:solidFill>
                  <a:schemeClr val="tx1"/>
                </a:solidFill>
              </a:defRPr>
            </a:lvl4pPr>
            <a:lvl5pPr marL="0" indent="0" algn="l">
              <a:buNone/>
              <a:defRPr sz="2011">
                <a:solidFill>
                  <a:schemeClr val="tx1"/>
                </a:solidFill>
              </a:defRPr>
            </a:lvl5pPr>
            <a:lvl6pPr marL="0" indent="0" algn="l">
              <a:buNone/>
              <a:defRPr sz="2011">
                <a:solidFill>
                  <a:schemeClr val="tx1"/>
                </a:solidFill>
              </a:defRPr>
            </a:lvl6pPr>
            <a:lvl7pPr marL="0" indent="0" algn="l">
              <a:buNone/>
              <a:defRPr sz="2011">
                <a:solidFill>
                  <a:schemeClr val="tx1"/>
                </a:solidFill>
              </a:defRPr>
            </a:lvl7pPr>
            <a:lvl8pPr marL="0" indent="0" algn="l">
              <a:buNone/>
              <a:defRPr sz="2011">
                <a:solidFill>
                  <a:schemeClr val="tx1"/>
                </a:solidFill>
              </a:defRPr>
            </a:lvl8pPr>
            <a:lvl9pPr marL="0" indent="0" algn="l">
              <a:buNone/>
              <a:defRPr sz="2011">
                <a:solidFill>
                  <a:schemeClr val="tx1"/>
                </a:solidFill>
              </a:defRPr>
            </a:lvl9pPr>
          </a:lstStyle>
          <a:p>
            <a:pPr lvl="0"/>
            <a:r>
              <a:rPr lang="de-DE"/>
              <a:t>Master-Untertitelformat bearbeiten</a:t>
            </a:r>
            <a:endParaRPr lang="en-US"/>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userDrawn="1"/>
        </p:nvCxnSpPr>
        <p:spPr bwMode="gray">
          <a:xfrm>
            <a:off x="2" y="438150"/>
            <a:ext cx="134429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9" descr="A close up of a sign&#10;&#10;Description automatically generated">
            <a:extLst>
              <a:ext uri="{FF2B5EF4-FFF2-40B4-BE49-F238E27FC236}">
                <a16:creationId xmlns:a16="http://schemas.microsoft.com/office/drawing/2014/main" id="{B9E21669-770C-4564-9CDC-2DAE0BA4370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134895" y="84374"/>
            <a:ext cx="1055553" cy="252181"/>
          </a:xfrm>
          <a:prstGeom prst="rect">
            <a:avLst/>
          </a:prstGeom>
        </p:spPr>
      </p:pic>
    </p:spTree>
    <p:extLst>
      <p:ext uri="{BB962C8B-B14F-4D97-AF65-F5344CB8AC3E}">
        <p14:creationId xmlns:p14="http://schemas.microsoft.com/office/powerpoint/2010/main" val="13784645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anha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0E8669-274B-45F0-8A9F-FD1585C6D849}"/>
              </a:ext>
            </a:extLst>
          </p:cNvPr>
          <p:cNvSpPr/>
          <p:nvPr userDrawn="1"/>
        </p:nvSpPr>
        <p:spPr>
          <a:xfrm>
            <a:off x="1889205" y="7172077"/>
            <a:ext cx="6493485" cy="373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443" err="1">
              <a:solidFill>
                <a:schemeClr val="tx1"/>
              </a:solidFill>
              <a:latin typeface="Century Gothic" pitchFamily="34" charset="0"/>
            </a:endParaRPr>
          </a:p>
        </p:txBody>
      </p:sp>
      <p:sp>
        <p:nvSpPr>
          <p:cNvPr id="4" name="Title 1">
            <a:extLst>
              <a:ext uri="{FF2B5EF4-FFF2-40B4-BE49-F238E27FC236}">
                <a16:creationId xmlns:a16="http://schemas.microsoft.com/office/drawing/2014/main" id="{C1AF3CA2-87C6-4D02-A3C5-E4DA109B2696}"/>
              </a:ext>
            </a:extLst>
          </p:cNvPr>
          <p:cNvSpPr>
            <a:spLocks noGrp="1"/>
          </p:cNvSpPr>
          <p:nvPr>
            <p:ph type="title"/>
          </p:nvPr>
        </p:nvSpPr>
        <p:spPr bwMode="gray">
          <a:xfrm>
            <a:off x="634629" y="471294"/>
            <a:ext cx="10546210" cy="373750"/>
          </a:xfrm>
        </p:spPr>
        <p:txBody>
          <a:bodyPr/>
          <a:lstStyle/>
          <a:p>
            <a:r>
              <a:rPr lang="de-DE"/>
              <a:t>Mastertitelformat bearbeiten</a:t>
            </a:r>
            <a:endParaRPr lang="en-US"/>
          </a:p>
        </p:txBody>
      </p:sp>
    </p:spTree>
    <p:extLst>
      <p:ext uri="{BB962C8B-B14F-4D97-AF65-F5344CB8AC3E}">
        <p14:creationId xmlns:p14="http://schemas.microsoft.com/office/powerpoint/2010/main" val="317752770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CBA2A-48B0-4876-8013-FC72DEEE489C}"/>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4474753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Text (2)">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hasCustomPrompt="1"/>
          </p:nvPr>
        </p:nvSpPr>
        <p:spPr bwMode="gray">
          <a:xfrm>
            <a:off x="638504" y="1371608"/>
            <a:ext cx="8149236" cy="237043"/>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userDrawn="1"/>
        </p:nvCxnSpPr>
        <p:spPr bwMode="gray">
          <a:xfrm flipV="1">
            <a:off x="647828" y="1608651"/>
            <a:ext cx="8139914" cy="285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Inhaltsplatzhalter 3">
            <a:extLst>
              <a:ext uri="{FF2B5EF4-FFF2-40B4-BE49-F238E27FC236}">
                <a16:creationId xmlns:a16="http://schemas.microsoft.com/office/drawing/2014/main" id="{C64DDAB0-85EA-41BC-9A8F-E8C82EBC7DAC}"/>
              </a:ext>
            </a:extLst>
          </p:cNvPr>
          <p:cNvSpPr>
            <a:spLocks noGrp="1"/>
          </p:cNvSpPr>
          <p:nvPr>
            <p:ph sz="quarter" idx="27"/>
          </p:nvPr>
        </p:nvSpPr>
        <p:spPr>
          <a:xfrm>
            <a:off x="635003" y="1819080"/>
            <a:ext cx="8169276" cy="50992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12" name="Inhaltsplatzhalter 3">
            <a:extLst>
              <a:ext uri="{FF2B5EF4-FFF2-40B4-BE49-F238E27FC236}">
                <a16:creationId xmlns:a16="http://schemas.microsoft.com/office/drawing/2014/main" id="{0519BBAD-24F8-41BC-8832-09E10353C4BE}"/>
              </a:ext>
            </a:extLst>
          </p:cNvPr>
          <p:cNvSpPr>
            <a:spLocks noGrp="1"/>
          </p:cNvSpPr>
          <p:nvPr>
            <p:ph sz="quarter" idx="28"/>
          </p:nvPr>
        </p:nvSpPr>
        <p:spPr>
          <a:xfrm>
            <a:off x="9042403" y="1819080"/>
            <a:ext cx="4084638" cy="50992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AT"/>
          </a:p>
        </p:txBody>
      </p:sp>
      <p:sp>
        <p:nvSpPr>
          <p:cNvPr id="13" name="Title Placeholder 1">
            <a:extLst>
              <a:ext uri="{FF2B5EF4-FFF2-40B4-BE49-F238E27FC236}">
                <a16:creationId xmlns:a16="http://schemas.microsoft.com/office/drawing/2014/main" id="{86B71A5A-2455-4E2D-B4A4-DBF877634778}"/>
              </a:ext>
            </a:extLst>
          </p:cNvPr>
          <p:cNvSpPr>
            <a:spLocks noGrp="1"/>
          </p:cNvSpPr>
          <p:nvPr>
            <p:ph type="title"/>
          </p:nvPr>
        </p:nvSpPr>
        <p:spPr bwMode="gray">
          <a:xfrm>
            <a:off x="627750" y="471294"/>
            <a:ext cx="10706729" cy="388536"/>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37849968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F952685-CFD4-B349-8EEF-D3DE7D499B40}"/>
              </a:ext>
            </a:extLst>
          </p:cNvPr>
          <p:cNvSpPr>
            <a:spLocks noGrp="1"/>
          </p:cNvSpPr>
          <p:nvPr>
            <p:ph type="title" hasCustomPrompt="1"/>
          </p:nvPr>
        </p:nvSpPr>
        <p:spPr>
          <a:xfrm>
            <a:off x="607314" y="763185"/>
            <a:ext cx="12225675" cy="427565"/>
          </a:xfrm>
        </p:spPr>
        <p:txBody>
          <a:bodyPr anchor="b"/>
          <a:lstStyle>
            <a:lvl1pPr>
              <a:defRPr sz="3087">
                <a:solidFill>
                  <a:srgbClr val="004F71"/>
                </a:solidFill>
              </a:defRPr>
            </a:lvl1pPr>
          </a:lstStyle>
          <a:p>
            <a:r>
              <a:rPr lang="en-US" noProof="0"/>
              <a:t>Click to add title</a:t>
            </a:r>
          </a:p>
        </p:txBody>
      </p:sp>
      <p:sp>
        <p:nvSpPr>
          <p:cNvPr id="10" name="Platshållare för text 2">
            <a:extLst>
              <a:ext uri="{FF2B5EF4-FFF2-40B4-BE49-F238E27FC236}">
                <a16:creationId xmlns:a16="http://schemas.microsoft.com/office/drawing/2014/main" id="{615B50FA-56D0-3040-A856-5FF63A4A6B1E}"/>
              </a:ext>
            </a:extLst>
          </p:cNvPr>
          <p:cNvSpPr>
            <a:spLocks noGrp="1"/>
          </p:cNvSpPr>
          <p:nvPr>
            <p:ph type="body" sz="quarter" idx="17" hasCustomPrompt="1"/>
          </p:nvPr>
        </p:nvSpPr>
        <p:spPr>
          <a:xfrm>
            <a:off x="607314" y="1190750"/>
            <a:ext cx="12225675" cy="317533"/>
          </a:xfrm>
        </p:spPr>
        <p:txBody>
          <a:bodyPr tIns="18000" anchor="t"/>
          <a:lstStyle>
            <a:lvl1pPr marL="0" indent="0">
              <a:lnSpc>
                <a:spcPct val="90000"/>
              </a:lnSpc>
              <a:spcBef>
                <a:spcPts val="0"/>
              </a:spcBef>
              <a:buNone/>
              <a:defRPr sz="2205" b="0" i="0">
                <a:solidFill>
                  <a:srgbClr val="3BB34A"/>
                </a:solidFill>
                <a:latin typeface="Bisnode Sans" pitchFamily="2" charset="77"/>
              </a:defRPr>
            </a:lvl1pPr>
            <a:lvl2pPr marL="266027" indent="0">
              <a:buNone/>
              <a:defRPr/>
            </a:lvl2pPr>
            <a:lvl3pPr marL="599726" indent="0">
              <a:buNone/>
              <a:defRPr/>
            </a:lvl3pPr>
            <a:lvl4pPr marL="826082" indent="0">
              <a:buNone/>
              <a:defRPr/>
            </a:lvl4pPr>
            <a:lvl5pPr marL="1106111" indent="0">
              <a:buNone/>
              <a:defRPr/>
            </a:lvl5pPr>
          </a:lstStyle>
          <a:p>
            <a:pPr lvl="0"/>
            <a:r>
              <a:rPr lang="en-US" noProof="0"/>
              <a:t>Click to add subtitle</a:t>
            </a:r>
          </a:p>
        </p:txBody>
      </p:sp>
    </p:spTree>
    <p:extLst>
      <p:ext uri="{BB962C8B-B14F-4D97-AF65-F5344CB8AC3E}">
        <p14:creationId xmlns:p14="http://schemas.microsoft.com/office/powerpoint/2010/main" val="358085440"/>
      </p:ext>
    </p:extLst>
  </p:cSld>
  <p:clrMapOvr>
    <a:masterClrMapping/>
  </p:clrMapOvr>
  <p:transition>
    <p:fade/>
  </p:transition>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Anhang">
    <p:spTree>
      <p:nvGrpSpPr>
        <p:cNvPr id="1" name=""/>
        <p:cNvGrpSpPr/>
        <p:nvPr/>
      </p:nvGrpSpPr>
      <p:grpSpPr>
        <a:xfrm>
          <a:off x="0" y="0"/>
          <a:ext cx="0" cy="0"/>
          <a:chOff x="0" y="0"/>
          <a:chExt cx="0" cy="0"/>
        </a:xfrm>
      </p:grpSpPr>
      <p:sp>
        <p:nvSpPr>
          <p:cNvPr id="12" name="Titel 5">
            <a:extLst>
              <a:ext uri="{FF2B5EF4-FFF2-40B4-BE49-F238E27FC236}">
                <a16:creationId xmlns:a16="http://schemas.microsoft.com/office/drawing/2014/main" id="{8D206A1C-8FEB-4BCF-86BC-E13CFD831C85}"/>
              </a:ext>
            </a:extLst>
          </p:cNvPr>
          <p:cNvSpPr txBox="1">
            <a:spLocks/>
          </p:cNvSpPr>
          <p:nvPr userDrawn="1"/>
        </p:nvSpPr>
        <p:spPr bwMode="gray">
          <a:xfrm>
            <a:off x="484495" y="841253"/>
            <a:ext cx="7923832" cy="9627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1008126" rtl="0" eaLnBrk="1" fontAlgn="auto" latinLnBrk="0" hangingPunct="1">
              <a:lnSpc>
                <a:spcPct val="90000"/>
              </a:lnSpc>
              <a:spcBef>
                <a:spcPct val="0"/>
              </a:spcBef>
              <a:spcAft>
                <a:spcPts val="0"/>
              </a:spcAft>
              <a:buClrTx/>
              <a:buSzTx/>
              <a:buFontTx/>
              <a:buNone/>
              <a:tabLst/>
              <a:defRPr/>
            </a:pPr>
            <a:endParaRPr kumimoji="0" lang="en-GB" sz="4851" b="0" i="0" u="none" strike="noStrike" kern="1200" cap="none" spc="0" normalizeH="0" baseline="0" noProof="0">
              <a:ln>
                <a:noFill/>
              </a:ln>
              <a:solidFill>
                <a:prstClr val="black"/>
              </a:solidFill>
              <a:effectLst/>
              <a:uLnTx/>
              <a:uFillTx/>
              <a:latin typeface="Century Gothic"/>
              <a:ea typeface="+mj-ea"/>
              <a:cs typeface="+mj-cs"/>
            </a:endParaRPr>
          </a:p>
        </p:txBody>
      </p:sp>
      <p:sp>
        <p:nvSpPr>
          <p:cNvPr id="2" name="Rechteck 1">
            <a:extLst>
              <a:ext uri="{FF2B5EF4-FFF2-40B4-BE49-F238E27FC236}">
                <a16:creationId xmlns:a16="http://schemas.microsoft.com/office/drawing/2014/main" id="{CBBAABF4-C7B6-4339-BD6B-CDC1D4CCB97B}"/>
              </a:ext>
            </a:extLst>
          </p:cNvPr>
          <p:cNvSpPr/>
          <p:nvPr userDrawn="1"/>
        </p:nvSpPr>
        <p:spPr bwMode="gray">
          <a:xfrm>
            <a:off x="1816274" y="7164888"/>
            <a:ext cx="10183660" cy="30062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err="1">
              <a:solidFill>
                <a:schemeClr val="tx1"/>
              </a:solidFill>
            </a:endParaRPr>
          </a:p>
        </p:txBody>
      </p:sp>
    </p:spTree>
    <p:extLst>
      <p:ext uri="{BB962C8B-B14F-4D97-AF65-F5344CB8AC3E}">
        <p14:creationId xmlns:p14="http://schemas.microsoft.com/office/powerpoint/2010/main" val="2078308060"/>
      </p:ext>
    </p:extLst>
  </p:cSld>
  <p:clrMapOvr>
    <a:masterClrMapping/>
  </p:clrMapOvr>
  <p:extLst>
    <p:ext uri="{DCECCB84-F9BA-43D5-87BE-67443E8EF086}">
      <p15:sldGuideLst xmlns:p15="http://schemas.microsoft.com/office/powerpoint/2012/main">
        <p15:guide id="1" pos="308">
          <p15:clr>
            <a:srgbClr val="FBAE40"/>
          </p15:clr>
        </p15:guide>
        <p15:guide id="2" pos="149">
          <p15:clr>
            <a:srgbClr val="FBAE40"/>
          </p15:clr>
        </p15:guide>
        <p15:guide id="3" pos="6091">
          <p15:clr>
            <a:srgbClr val="FBAE40"/>
          </p15:clr>
        </p15:guide>
        <p15:guide id="4" pos="5932">
          <p15:clr>
            <a:srgbClr val="FBAE40"/>
          </p15:clr>
        </p15:guide>
        <p15:guide id="5" orient="horz" pos="164">
          <p15:clr>
            <a:srgbClr val="FBAE40"/>
          </p15:clr>
        </p15:guide>
        <p15:guide id="6" orient="horz" pos="323">
          <p15:clr>
            <a:srgbClr val="FBAE40"/>
          </p15:clr>
        </p15:guide>
        <p15:guide id="7" orient="horz" pos="482">
          <p15:clr>
            <a:srgbClr val="FBAE40"/>
          </p15:clr>
        </p15:guide>
        <p15:guide id="8" orient="horz" pos="640">
          <p15:clr>
            <a:srgbClr val="FBAE40"/>
          </p15:clr>
        </p15:guide>
        <p15:guide id="9" orient="horz" pos="4178">
          <p15:clr>
            <a:srgbClr val="FBAE40"/>
          </p15:clr>
        </p15:guide>
        <p15:guide id="10" orient="horz" pos="4020">
          <p15:clr>
            <a:srgbClr val="FBAE40"/>
          </p15:clr>
        </p15:guide>
        <p15:guide id="11" orient="horz" pos="3861">
          <p15:clr>
            <a:srgbClr val="FBAE40"/>
          </p15:clr>
        </p15:guide>
        <p15:guide id="12" orient="horz" pos="370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6_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4" name="Inhaltsplatzhalter 3">
            <a:extLst>
              <a:ext uri="{FF2B5EF4-FFF2-40B4-BE49-F238E27FC236}">
                <a16:creationId xmlns:a16="http://schemas.microsoft.com/office/drawing/2014/main" id="{15901380-0C8F-475D-B2B0-AD83FA8B0FC9}"/>
              </a:ext>
            </a:extLst>
          </p:cNvPr>
          <p:cNvSpPr>
            <a:spLocks noGrp="1"/>
          </p:cNvSpPr>
          <p:nvPr>
            <p:ph sz="quarter" idx="23"/>
          </p:nvPr>
        </p:nvSpPr>
        <p:spPr>
          <a:xfrm>
            <a:off x="634634" y="1417644"/>
            <a:ext cx="6086847" cy="5500686"/>
          </a:xfrm>
        </p:spPr>
        <p:txBody>
          <a:bodyPr vert="horz" lIns="91440" tIns="45720" rIns="91440" bIns="45720" rtlCol="0">
            <a:normAutofit/>
          </a:bodyPr>
          <a:lstStyle>
            <a:lvl1pPr>
              <a:lnSpc>
                <a:spcPct val="100000"/>
              </a:lnSpc>
              <a:spcAft>
                <a:spcPts val="0"/>
              </a:spcAft>
              <a:defRPr lang="de-DE" sz="3257" b="0"/>
            </a:lvl1pPr>
            <a:lvl2pPr>
              <a:lnSpc>
                <a:spcPct val="100000"/>
              </a:lnSpc>
              <a:spcAft>
                <a:spcPts val="0"/>
              </a:spcAft>
              <a:defRPr lang="de-DE" sz="2850"/>
            </a:lvl2pPr>
            <a:lvl3pPr>
              <a:lnSpc>
                <a:spcPct val="100000"/>
              </a:lnSpc>
              <a:spcAft>
                <a:spcPts val="0"/>
              </a:spcAft>
              <a:defRPr lang="de-DE" sz="2441"/>
            </a:lvl3pPr>
            <a:lvl4pPr>
              <a:lnSpc>
                <a:spcPct val="100000"/>
              </a:lnSpc>
              <a:spcAft>
                <a:spcPts val="0"/>
              </a:spcAft>
              <a:defRPr lang="de-DE" sz="2034"/>
            </a:lvl4pPr>
            <a:lvl5pPr>
              <a:lnSpc>
                <a:spcPct val="100000"/>
              </a:lnSpc>
              <a:spcAft>
                <a:spcPts val="0"/>
              </a:spcAft>
              <a:defRPr lang="de-AT" sz="2034"/>
            </a:lvl5pPr>
          </a:lstStyle>
          <a:p>
            <a:pPr lvl="0" defTabSz="930548">
              <a:buFont typeface="Arial" panose="020B0604020202020204" pitchFamily="34" charset="0"/>
            </a:pPr>
            <a:r>
              <a:rPr lang="de-DE"/>
              <a:t>Mastertextformat bearbeiten</a:t>
            </a:r>
          </a:p>
          <a:p>
            <a:pPr marL="465273" lvl="1" defTabSz="930548">
              <a:spcBef>
                <a:spcPct val="20000"/>
              </a:spcBef>
              <a:buFont typeface="Arial" panose="020B0604020202020204" pitchFamily="34" charset="0"/>
            </a:pPr>
            <a:r>
              <a:rPr lang="de-DE"/>
              <a:t>Zweite Ebene</a:t>
            </a:r>
          </a:p>
          <a:p>
            <a:pPr marL="930548" lvl="2" indent="0" defTabSz="930548">
              <a:spcBef>
                <a:spcPct val="20000"/>
              </a:spcBef>
              <a:buFont typeface="Arial" panose="020B0604020202020204" pitchFamily="34" charset="0"/>
              <a:buNone/>
            </a:pPr>
            <a:r>
              <a:rPr lang="de-DE"/>
              <a:t>Dritte Ebene</a:t>
            </a:r>
          </a:p>
          <a:p>
            <a:pPr marL="1395821" lvl="3" indent="0" defTabSz="930548">
              <a:spcBef>
                <a:spcPct val="20000"/>
              </a:spcBef>
              <a:buFont typeface="Arial" panose="020B0604020202020204" pitchFamily="34" charset="0"/>
              <a:buNone/>
            </a:pPr>
            <a:r>
              <a:rPr lang="de-DE"/>
              <a:t>Vierte Ebene</a:t>
            </a:r>
          </a:p>
          <a:p>
            <a:pPr marL="1861096" lvl="4" indent="0" defTabSz="930548">
              <a:spcBef>
                <a:spcPct val="20000"/>
              </a:spcBef>
              <a:buFont typeface="Arial" panose="020B0604020202020204" pitchFamily="34" charset="0"/>
              <a:buNone/>
            </a:pPr>
            <a:r>
              <a:rPr lang="de-DE"/>
              <a:t>Fünfte Ebene</a:t>
            </a:r>
            <a:endParaRPr lang="de-AT"/>
          </a:p>
        </p:txBody>
      </p:sp>
      <p:sp>
        <p:nvSpPr>
          <p:cNvPr id="6" name="Inhaltsplatzhalter 5">
            <a:extLst>
              <a:ext uri="{FF2B5EF4-FFF2-40B4-BE49-F238E27FC236}">
                <a16:creationId xmlns:a16="http://schemas.microsoft.com/office/drawing/2014/main" id="{E0C8022F-FBA9-40AD-909C-8DE2D99BAE20}"/>
              </a:ext>
            </a:extLst>
          </p:cNvPr>
          <p:cNvSpPr>
            <a:spLocks noGrp="1"/>
          </p:cNvSpPr>
          <p:nvPr>
            <p:ph sz="quarter" idx="24"/>
          </p:nvPr>
        </p:nvSpPr>
        <p:spPr>
          <a:xfrm>
            <a:off x="7038790" y="1417644"/>
            <a:ext cx="6088843" cy="5500686"/>
          </a:xfrm>
        </p:spPr>
        <p:txBody>
          <a:bodyPr vert="horz" lIns="91440" tIns="45720" rIns="91440" bIns="45720" rtlCol="0">
            <a:normAutofit/>
          </a:bodyPr>
          <a:lstStyle>
            <a:lvl1pPr>
              <a:lnSpc>
                <a:spcPct val="100000"/>
              </a:lnSpc>
              <a:defRPr lang="de-DE" sz="1323" b="0">
                <a:latin typeface="Century Gothic" panose="020B0502020202020204" pitchFamily="34" charset="0"/>
              </a:defRPr>
            </a:lvl1pPr>
            <a:lvl2pPr>
              <a:lnSpc>
                <a:spcPct val="100000"/>
              </a:lnSpc>
              <a:defRPr lang="de-DE" sz="1323">
                <a:latin typeface="Century Gothic" panose="020B0502020202020204" pitchFamily="34" charset="0"/>
              </a:defRPr>
            </a:lvl2pPr>
            <a:lvl3pPr>
              <a:lnSpc>
                <a:spcPct val="100000"/>
              </a:lnSpc>
              <a:defRPr lang="de-DE" sz="1323">
                <a:latin typeface="Century Gothic" panose="020B0502020202020204" pitchFamily="34" charset="0"/>
              </a:defRPr>
            </a:lvl3pPr>
            <a:lvl4pPr>
              <a:lnSpc>
                <a:spcPct val="100000"/>
              </a:lnSpc>
              <a:defRPr lang="de-DE" sz="1323">
                <a:latin typeface="Century Gothic" panose="020B0502020202020204" pitchFamily="34" charset="0"/>
              </a:defRPr>
            </a:lvl4pPr>
            <a:lvl5pPr>
              <a:lnSpc>
                <a:spcPct val="100000"/>
              </a:lnSpc>
              <a:defRPr lang="de-AT" sz="1323">
                <a:latin typeface="Century Gothic" panose="020B0502020202020204" pitchFamily="34" charset="0"/>
              </a:defRPr>
            </a:lvl5pPr>
          </a:lstStyle>
          <a:p>
            <a:pPr marL="186842" lvl="0" indent="-186842" algn="just" defTabSz="930548">
              <a:spcBef>
                <a:spcPts val="101"/>
              </a:spcBef>
              <a:spcAft>
                <a:spcPts val="101"/>
              </a:spcAft>
              <a:buSzPct val="140000"/>
              <a:buFont typeface="Wingdings" panose="05000000000000000000" pitchFamily="2" charset="2"/>
              <a:buChar char="§"/>
            </a:pPr>
            <a:r>
              <a:rPr lang="de-DE"/>
              <a:t>Mastertextformat bearbeiten</a:t>
            </a:r>
          </a:p>
          <a:p>
            <a:pPr marL="756070" lvl="1" indent="-290797" algn="just" defTabSz="930548">
              <a:spcBef>
                <a:spcPct val="20000"/>
              </a:spcBef>
              <a:buSzPct val="120000"/>
              <a:buFont typeface="Arial" panose="020B0604020202020204" pitchFamily="34" charset="0"/>
              <a:buChar char="–"/>
            </a:pPr>
            <a:r>
              <a:rPr lang="de-DE"/>
              <a:t>Zweite Ebene</a:t>
            </a:r>
          </a:p>
          <a:p>
            <a:pPr marL="1163185" lvl="2" indent="-232637" algn="just" defTabSz="930548">
              <a:spcBef>
                <a:spcPct val="20000"/>
              </a:spcBef>
              <a:buSzPct val="120000"/>
              <a:buFont typeface="Arial" panose="020B0604020202020204" pitchFamily="34" charset="0"/>
              <a:buChar char="•"/>
            </a:pPr>
            <a:r>
              <a:rPr lang="de-DE"/>
              <a:t>Dritte Ebene</a:t>
            </a:r>
          </a:p>
          <a:p>
            <a:pPr marL="1628460" lvl="3" indent="-232637" algn="just" defTabSz="930548">
              <a:spcBef>
                <a:spcPct val="20000"/>
              </a:spcBef>
              <a:buSzPct val="120000"/>
              <a:buFont typeface="Arial" panose="020B0604020202020204" pitchFamily="34" charset="0"/>
              <a:buChar char="–"/>
            </a:pPr>
            <a:r>
              <a:rPr lang="de-DE"/>
              <a:t>Vierte Ebene</a:t>
            </a:r>
          </a:p>
          <a:p>
            <a:pPr marL="2093733" lvl="4" indent="-232637" algn="just" defTabSz="930548">
              <a:spcBef>
                <a:spcPct val="20000"/>
              </a:spcBef>
              <a:buSzPct val="120000"/>
              <a:buFont typeface="Arial" panose="020B0604020202020204" pitchFamily="34" charset="0"/>
              <a:buChar char="»"/>
            </a:pPr>
            <a:r>
              <a:rPr lang="de-DE"/>
              <a:t>Fünfte Ebene</a:t>
            </a:r>
            <a:endParaRPr lang="de-AT"/>
          </a:p>
        </p:txBody>
      </p:sp>
    </p:spTree>
    <p:extLst>
      <p:ext uri="{BB962C8B-B14F-4D97-AF65-F5344CB8AC3E}">
        <p14:creationId xmlns:p14="http://schemas.microsoft.com/office/powerpoint/2010/main" val="19484850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only titel">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EFD4D966-B1D0-4863-BAF4-80954B1875BC}"/>
              </a:ext>
            </a:extLst>
          </p:cNvPr>
          <p:cNvSpPr>
            <a:spLocks noGrp="1"/>
          </p:cNvSpPr>
          <p:nvPr>
            <p:ph type="title"/>
          </p:nvPr>
        </p:nvSpPr>
        <p:spPr bwMode="gray">
          <a:xfrm>
            <a:off x="284387" y="471294"/>
            <a:ext cx="10896453" cy="388536"/>
          </a:xfrm>
          <a:prstGeom prst="rect">
            <a:avLst/>
          </a:prstGeom>
        </p:spPr>
        <p:txBody>
          <a:bodyPr vert="horz" lIns="0" tIns="0" rIns="0" bIns="0" rtlCol="0" anchor="b" anchorCtr="0">
            <a:noAutofit/>
          </a:bodyPr>
          <a:lstStyle/>
          <a:p>
            <a:r>
              <a:rPr lang="de-DE"/>
              <a:t>Mastertitelformat bearbeiten</a:t>
            </a:r>
            <a:endParaRPr lang="en-US"/>
          </a:p>
        </p:txBody>
      </p:sp>
      <p:pic>
        <p:nvPicPr>
          <p:cNvPr id="3" name="Picture 19" descr="A close up of a sign&#10;&#10;Description automatically generated">
            <a:extLst>
              <a:ext uri="{FF2B5EF4-FFF2-40B4-BE49-F238E27FC236}">
                <a16:creationId xmlns:a16="http://schemas.microsoft.com/office/drawing/2014/main" id="{9E063DE4-F372-46B4-B3A9-001F92DF60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80138" y="363150"/>
            <a:ext cx="1754892" cy="526874"/>
          </a:xfrm>
          <a:prstGeom prst="rect">
            <a:avLst/>
          </a:prstGeom>
          <a:solidFill>
            <a:schemeClr val="bg1"/>
          </a:solidFill>
        </p:spPr>
      </p:pic>
    </p:spTree>
    <p:extLst>
      <p:ext uri="{BB962C8B-B14F-4D97-AF65-F5344CB8AC3E}">
        <p14:creationId xmlns:p14="http://schemas.microsoft.com/office/powerpoint/2010/main" val="198165803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pic>
        <p:nvPicPr>
          <p:cNvPr id="12" name="Picture Placeholder 6">
            <a:extLst>
              <a:ext uri="{FF2B5EF4-FFF2-40B4-BE49-F238E27FC236}">
                <a16:creationId xmlns:a16="http://schemas.microsoft.com/office/drawing/2014/main" id="{ECFCF2DE-C213-43CB-8846-E759A56F53AB}"/>
              </a:ext>
            </a:extLst>
          </p:cNvPr>
          <p:cNvPicPr>
            <a:picLocks noChangeAspect="1"/>
          </p:cNvPicPr>
          <p:nvPr userDrawn="1"/>
        </p:nvPicPr>
        <p:blipFill rotWithShape="1">
          <a:blip r:embed="rId5"/>
          <a:srcRect l="7552" r="22652"/>
          <a:stretch/>
        </p:blipFill>
        <p:spPr bwMode="gray">
          <a:xfrm>
            <a:off x="3" y="462355"/>
            <a:ext cx="13442950" cy="7098908"/>
          </a:xfrm>
          <a:prstGeom prst="rect">
            <a:avLst/>
          </a:prstGeom>
        </p:spPr>
      </p:pic>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userDrawn="1">
            <p:custDataLst>
              <p:tags r:id="rId2"/>
            </p:custDataLst>
            <p:extLst>
              <p:ext uri="{D42A27DB-BD31-4B8C-83A1-F6EECF244321}">
                <p14:modId xmlns:p14="http://schemas.microsoft.com/office/powerpoint/2010/main" val="3764769922"/>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4098" name="think-cell Slide" r:id="rId6" imgW="351" imgH="351" progId="TCLayout.ActiveDocument.1">
                  <p:embed/>
                </p:oleObj>
              </mc:Choice>
              <mc:Fallback>
                <p:oleObj name="think-cell Slide" r:id="rId6"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7"/>
                      <a:stretch>
                        <a:fillRect/>
                      </a:stretch>
                    </p:blipFill>
                    <p:spPr>
                      <a:xfrm>
                        <a:off x="1998" y="1588"/>
                        <a:ext cx="199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52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2" y="0"/>
            <a:ext cx="1344295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634628" y="4975348"/>
            <a:ext cx="10525255" cy="2081094"/>
          </a:xfrm>
          <a:prstGeom prst="rect">
            <a:avLst/>
          </a:prstGeom>
          <a:solidFill>
            <a:schemeClr val="accent1">
              <a:alpha val="74902"/>
            </a:schemeClr>
          </a:solidFill>
        </p:spPr>
        <p:txBody>
          <a:bodyPr wrap="square" lIns="216000" tIns="180000" rIns="216000" bIns="1260000" anchor="b" anchorCtr="0">
            <a:spAutoFit/>
          </a:bodyPr>
          <a:lstStyle>
            <a:lvl1pPr algn="l">
              <a:defRPr sz="4527" b="1">
                <a:latin typeface="Amalia" panose="020B0504020203020204" pitchFamily="34" charset="0"/>
              </a:defRPr>
            </a:lvl1pPr>
          </a:lstStyle>
          <a:p>
            <a:r>
              <a:rPr lang="de-DE"/>
              <a:t>Mastertitelformat bearbeiten</a:t>
            </a:r>
            <a:endParaRPr lang="en-US"/>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634630" y="5869785"/>
            <a:ext cx="10525254" cy="1048545"/>
          </a:xfrm>
        </p:spPr>
        <p:txBody>
          <a:bodyPr lIns="216000" rIns="216000" anchor="t" anchorCtr="0"/>
          <a:lstStyle>
            <a:lvl1pPr marL="0" indent="0" algn="l">
              <a:buNone/>
              <a:defRPr sz="2011" b="0">
                <a:latin typeface="Amalia" panose="020B0504020203020204" pitchFamily="34" charset="0"/>
              </a:defRPr>
            </a:lvl1pPr>
            <a:lvl2pPr marL="0" indent="0" algn="l">
              <a:buNone/>
              <a:defRPr sz="2011">
                <a:solidFill>
                  <a:schemeClr val="tx1"/>
                </a:solidFill>
              </a:defRPr>
            </a:lvl2pPr>
            <a:lvl3pPr marL="0" indent="0" algn="l">
              <a:buNone/>
              <a:defRPr sz="2011">
                <a:solidFill>
                  <a:schemeClr val="tx1"/>
                </a:solidFill>
              </a:defRPr>
            </a:lvl3pPr>
            <a:lvl4pPr marL="0" indent="0" algn="l">
              <a:buNone/>
              <a:defRPr sz="2011">
                <a:solidFill>
                  <a:schemeClr val="tx1"/>
                </a:solidFill>
              </a:defRPr>
            </a:lvl4pPr>
            <a:lvl5pPr marL="0" indent="0" algn="l">
              <a:buNone/>
              <a:defRPr sz="2011">
                <a:solidFill>
                  <a:schemeClr val="tx1"/>
                </a:solidFill>
              </a:defRPr>
            </a:lvl5pPr>
            <a:lvl6pPr marL="0" indent="0" algn="l">
              <a:buNone/>
              <a:defRPr sz="2011">
                <a:solidFill>
                  <a:schemeClr val="tx1"/>
                </a:solidFill>
              </a:defRPr>
            </a:lvl6pPr>
            <a:lvl7pPr marL="0" indent="0" algn="l">
              <a:buNone/>
              <a:defRPr sz="2011">
                <a:solidFill>
                  <a:schemeClr val="tx1"/>
                </a:solidFill>
              </a:defRPr>
            </a:lvl7pPr>
            <a:lvl8pPr marL="0" indent="0" algn="l">
              <a:buNone/>
              <a:defRPr sz="2011">
                <a:solidFill>
                  <a:schemeClr val="tx1"/>
                </a:solidFill>
              </a:defRPr>
            </a:lvl8pPr>
            <a:lvl9pPr marL="0" indent="0" algn="l">
              <a:buNone/>
              <a:defRPr sz="2011">
                <a:solidFill>
                  <a:schemeClr val="tx1"/>
                </a:solidFill>
              </a:defRPr>
            </a:lvl9pPr>
          </a:lstStyle>
          <a:p>
            <a:pPr lvl="0"/>
            <a:r>
              <a:rPr lang="de-DE"/>
              <a:t>Master-Untertitelformat bearbeiten</a:t>
            </a:r>
            <a:endParaRPr lang="en-US"/>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userDrawn="1"/>
        </p:nvCxnSpPr>
        <p:spPr bwMode="gray">
          <a:xfrm>
            <a:off x="2" y="438150"/>
            <a:ext cx="134429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9" descr="A close up of a sign&#10;&#10;Description automatically generated">
            <a:extLst>
              <a:ext uri="{FF2B5EF4-FFF2-40B4-BE49-F238E27FC236}">
                <a16:creationId xmlns:a16="http://schemas.microsoft.com/office/drawing/2014/main" id="{B9E21669-770C-4564-9CDC-2DAE0BA4370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134895" y="84374"/>
            <a:ext cx="1055553" cy="252181"/>
          </a:xfrm>
          <a:prstGeom prst="rect">
            <a:avLst/>
          </a:prstGeom>
        </p:spPr>
      </p:pic>
    </p:spTree>
    <p:extLst>
      <p:ext uri="{BB962C8B-B14F-4D97-AF65-F5344CB8AC3E}">
        <p14:creationId xmlns:p14="http://schemas.microsoft.com/office/powerpoint/2010/main" val="19896081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258CE9-9006-4B75-BFC2-C6EF524E5DB4}"/>
              </a:ext>
            </a:extLst>
          </p:cNvPr>
          <p:cNvGraphicFramePr>
            <a:graphicFrameLocks noChangeAspect="1"/>
          </p:cNvGraphicFramePr>
          <p:nvPr userDrawn="1">
            <p:custDataLst>
              <p:tags r:id="rId2"/>
            </p:custDataLst>
            <p:extLst>
              <p:ext uri="{D42A27DB-BD31-4B8C-83A1-F6EECF244321}">
                <p14:modId xmlns:p14="http://schemas.microsoft.com/office/powerpoint/2010/main" val="863984379"/>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5122" name="think-cell Slide" r:id="rId5" imgW="351" imgH="351" progId="TCLayout.ActiveDocument.1">
                  <p:embed/>
                </p:oleObj>
              </mc:Choice>
              <mc:Fallback>
                <p:oleObj name="think-cell Slide" r:id="rId5" imgW="351" imgH="351" progId="TCLayout.ActiveDocument.1">
                  <p:embed/>
                  <p:pic>
                    <p:nvPicPr>
                      <p:cNvPr id="4" name="Object 3" hidden="1">
                        <a:extLst>
                          <a:ext uri="{FF2B5EF4-FFF2-40B4-BE49-F238E27FC236}">
                            <a16:creationId xmlns:a16="http://schemas.microsoft.com/office/drawing/2014/main" id="{68258CE9-9006-4B75-BFC2-C6EF524E5DB4}"/>
                          </a:ext>
                        </a:extLst>
                      </p:cNvPr>
                      <p:cNvPicPr/>
                      <p:nvPr/>
                    </p:nvPicPr>
                    <p:blipFill>
                      <a:blip r:embed="rId6"/>
                      <a:stretch>
                        <a:fillRect/>
                      </a:stretch>
                    </p:blipFill>
                    <p:spPr>
                      <a:xfrm>
                        <a:off x="1998" y="1588"/>
                        <a:ext cx="1996"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EB2ECD-020B-451E-99A5-6EB49A148121}"/>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1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64D34665-AFEB-47AE-A7B8-B1C11914151F}"/>
              </a:ext>
            </a:extLst>
          </p:cNvPr>
          <p:cNvSpPr>
            <a:spLocks noGrp="1"/>
          </p:cNvSpPr>
          <p:nvPr>
            <p:ph type="title"/>
          </p:nvPr>
        </p:nvSpPr>
        <p:spPr bwMode="gray">
          <a:xfrm>
            <a:off x="643675" y="3779841"/>
            <a:ext cx="12483958" cy="417871"/>
          </a:xfrm>
          <a:prstGeom prst="rect">
            <a:avLst/>
          </a:prstGeom>
        </p:spPr>
        <p:txBody>
          <a:bodyPr wrap="square" anchor="t" anchorCtr="0">
            <a:spAutoFit/>
          </a:bodyPr>
          <a:lstStyle>
            <a:lvl1pPr>
              <a:defRPr sz="3017" b="1">
                <a:latin typeface="Amalia" panose="020B0504020203020204" pitchFamily="34" charset="0"/>
              </a:defRPr>
            </a:lvl1pPr>
          </a:lstStyle>
          <a:p>
            <a:r>
              <a:rPr lang="de-DE"/>
              <a:t>Mastertitelformat bearbeiten</a:t>
            </a:r>
            <a:endParaRPr lang="en-US"/>
          </a:p>
        </p:txBody>
      </p:sp>
      <p:sp>
        <p:nvSpPr>
          <p:cNvPr id="6" name="Subtitle 2">
            <a:extLst>
              <a:ext uri="{FF2B5EF4-FFF2-40B4-BE49-F238E27FC236}">
                <a16:creationId xmlns:a16="http://schemas.microsoft.com/office/drawing/2014/main" id="{2789777E-AABC-4BBF-AD6A-6C30E1D40FBF}"/>
              </a:ext>
            </a:extLst>
          </p:cNvPr>
          <p:cNvSpPr>
            <a:spLocks noGrp="1"/>
          </p:cNvSpPr>
          <p:nvPr>
            <p:ph type="subTitle" idx="1"/>
          </p:nvPr>
        </p:nvSpPr>
        <p:spPr bwMode="gray">
          <a:xfrm>
            <a:off x="652225" y="3371910"/>
            <a:ext cx="12475411" cy="309444"/>
          </a:xfrm>
        </p:spPr>
        <p:txBody>
          <a:bodyPr wrap="square" lIns="0" rIns="0" anchor="b" anchorCtr="0">
            <a:spAutoFit/>
          </a:bodyPr>
          <a:lstStyle>
            <a:lvl1pPr marL="0" indent="0" algn="l">
              <a:lnSpc>
                <a:spcPct val="100000"/>
              </a:lnSpc>
              <a:spcAft>
                <a:spcPts val="0"/>
              </a:spcAft>
              <a:buNone/>
              <a:defRPr sz="2011" b="0" cap="none" baseline="0">
                <a:solidFill>
                  <a:schemeClr val="accent2"/>
                </a:solidFill>
                <a:latin typeface="Amalia" panose="020B0504020203020204" pitchFamily="34" charset="0"/>
              </a:defRPr>
            </a:lvl1pPr>
            <a:lvl2pPr marL="0" indent="0" algn="l">
              <a:lnSpc>
                <a:spcPct val="100000"/>
              </a:lnSpc>
              <a:spcAft>
                <a:spcPts val="0"/>
              </a:spcAft>
              <a:buNone/>
              <a:defRPr sz="2011" cap="none" baseline="0">
                <a:solidFill>
                  <a:schemeClr val="accent2"/>
                </a:solidFill>
              </a:defRPr>
            </a:lvl2pPr>
            <a:lvl3pPr marL="0" indent="0" algn="l">
              <a:lnSpc>
                <a:spcPct val="100000"/>
              </a:lnSpc>
              <a:spcAft>
                <a:spcPts val="0"/>
              </a:spcAft>
              <a:buNone/>
              <a:defRPr sz="2011" cap="none" baseline="0">
                <a:solidFill>
                  <a:schemeClr val="accent2"/>
                </a:solidFill>
              </a:defRPr>
            </a:lvl3pPr>
            <a:lvl4pPr marL="0" indent="0" algn="l">
              <a:lnSpc>
                <a:spcPct val="100000"/>
              </a:lnSpc>
              <a:spcAft>
                <a:spcPts val="0"/>
              </a:spcAft>
              <a:buNone/>
              <a:defRPr sz="2011" cap="none" baseline="0">
                <a:solidFill>
                  <a:schemeClr val="accent2"/>
                </a:solidFill>
              </a:defRPr>
            </a:lvl4pPr>
            <a:lvl5pPr marL="0" indent="0" algn="l">
              <a:lnSpc>
                <a:spcPct val="100000"/>
              </a:lnSpc>
              <a:spcAft>
                <a:spcPts val="0"/>
              </a:spcAft>
              <a:buNone/>
              <a:defRPr sz="2011" cap="none" baseline="0">
                <a:solidFill>
                  <a:schemeClr val="accent2"/>
                </a:solidFill>
              </a:defRPr>
            </a:lvl5pPr>
            <a:lvl6pPr marL="0" indent="0" algn="l">
              <a:lnSpc>
                <a:spcPct val="100000"/>
              </a:lnSpc>
              <a:buNone/>
              <a:defRPr sz="2011" cap="none" baseline="0">
                <a:solidFill>
                  <a:schemeClr val="accent2"/>
                </a:solidFill>
              </a:defRPr>
            </a:lvl6pPr>
            <a:lvl7pPr marL="0" indent="0" algn="l">
              <a:lnSpc>
                <a:spcPct val="100000"/>
              </a:lnSpc>
              <a:buNone/>
              <a:defRPr sz="2011" cap="none" baseline="0">
                <a:solidFill>
                  <a:schemeClr val="accent2"/>
                </a:solidFill>
              </a:defRPr>
            </a:lvl7pPr>
            <a:lvl8pPr marL="0" indent="0" algn="l">
              <a:lnSpc>
                <a:spcPct val="100000"/>
              </a:lnSpc>
              <a:buNone/>
              <a:defRPr sz="2011" cap="none" baseline="0">
                <a:solidFill>
                  <a:schemeClr val="accent2"/>
                </a:solidFill>
              </a:defRPr>
            </a:lvl8pPr>
            <a:lvl9pPr marL="0" indent="0" algn="l">
              <a:lnSpc>
                <a:spcPct val="100000"/>
              </a:lnSpc>
              <a:buNone/>
              <a:defRPr sz="2011" cap="none" baseline="0">
                <a:solidFill>
                  <a:schemeClr val="accent2"/>
                </a:solidFill>
              </a:defRPr>
            </a:lvl9pPr>
          </a:lstStyle>
          <a:p>
            <a:pPr lvl="0"/>
            <a:r>
              <a:rPr lang="de-DE"/>
              <a:t>Master-Untertitelformat bearbeiten</a:t>
            </a:r>
            <a:endParaRPr lang="en-US"/>
          </a:p>
        </p:txBody>
      </p:sp>
      <p:cxnSp>
        <p:nvCxnSpPr>
          <p:cNvPr id="7" name="Gerader Verbinder 3">
            <a:extLst>
              <a:ext uri="{FF2B5EF4-FFF2-40B4-BE49-F238E27FC236}">
                <a16:creationId xmlns:a16="http://schemas.microsoft.com/office/drawing/2014/main" id="{17E7FA7D-3131-4476-B1F9-945D6AB0F692}"/>
              </a:ext>
            </a:extLst>
          </p:cNvPr>
          <p:cNvCxnSpPr>
            <a:cxnSpLocks/>
          </p:cNvCxnSpPr>
          <p:nvPr/>
        </p:nvCxnSpPr>
        <p:spPr bwMode="gray">
          <a:xfrm>
            <a:off x="673606" y="4472738"/>
            <a:ext cx="1245402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165">
            <a:extLst>
              <a:ext uri="{FF2B5EF4-FFF2-40B4-BE49-F238E27FC236}">
                <a16:creationId xmlns:a16="http://schemas.microsoft.com/office/drawing/2014/main" id="{248B3159-079F-499C-846C-FEC416EF7540}"/>
              </a:ext>
            </a:extLst>
          </p:cNvPr>
          <p:cNvSpPr/>
          <p:nvPr/>
        </p:nvSpPr>
        <p:spPr bwMode="gray">
          <a:xfrm>
            <a:off x="2" y="0"/>
            <a:ext cx="13442950" cy="1196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9" name="Date Placeholder 8">
            <a:extLst>
              <a:ext uri="{FF2B5EF4-FFF2-40B4-BE49-F238E27FC236}">
                <a16:creationId xmlns:a16="http://schemas.microsoft.com/office/drawing/2014/main" id="{65F0CD19-657A-4D08-BBF3-49CB13A95248}"/>
              </a:ext>
            </a:extLst>
          </p:cNvPr>
          <p:cNvSpPr>
            <a:spLocks noGrp="1"/>
          </p:cNvSpPr>
          <p:nvPr>
            <p:ph type="dt" sz="half" idx="10"/>
          </p:nvPr>
        </p:nvSpPr>
        <p:spPr bwMode="gray"/>
        <p:txBody>
          <a:bodyPr/>
          <a:lstStyle/>
          <a:p>
            <a:fld id="{54D38B80-A3C5-41D7-A0A2-9FA4150BDDF7}" type="datetime6">
              <a:rPr lang="de-AT" smtClean="0"/>
              <a:t>Oktober 21</a:t>
            </a:fld>
            <a:endParaRPr lang="en-US"/>
          </a:p>
        </p:txBody>
      </p:sp>
    </p:spTree>
    <p:extLst>
      <p:ext uri="{BB962C8B-B14F-4D97-AF65-F5344CB8AC3E}">
        <p14:creationId xmlns:p14="http://schemas.microsoft.com/office/powerpoint/2010/main" val="35470386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4473CB7-D0F9-4BF0-BF58-7F86CC4F67C5}"/>
              </a:ext>
            </a:extLst>
          </p:cNvPr>
          <p:cNvGraphicFramePr>
            <a:graphicFrameLocks noChangeAspect="1"/>
          </p:cNvGraphicFramePr>
          <p:nvPr userDrawn="1">
            <p:custDataLst>
              <p:tags r:id="rId2"/>
            </p:custDataLst>
            <p:extLst>
              <p:ext uri="{D42A27DB-BD31-4B8C-83A1-F6EECF244321}">
                <p14:modId xmlns:p14="http://schemas.microsoft.com/office/powerpoint/2010/main" val="3506262256"/>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6146" name="think-cell Slide" r:id="rId5" imgW="351" imgH="351" progId="TCLayout.ActiveDocument.1">
                  <p:embed/>
                </p:oleObj>
              </mc:Choice>
              <mc:Fallback>
                <p:oleObj name="think-cell Slide" r:id="rId5" imgW="351" imgH="351" progId="TCLayout.ActiveDocument.1">
                  <p:embed/>
                  <p:pic>
                    <p:nvPicPr>
                      <p:cNvPr id="16" name="Object 15" hidden="1">
                        <a:extLst>
                          <a:ext uri="{FF2B5EF4-FFF2-40B4-BE49-F238E27FC236}">
                            <a16:creationId xmlns:a16="http://schemas.microsoft.com/office/drawing/2014/main" id="{A4473CB7-D0F9-4BF0-BF58-7F86CC4F67C5}"/>
                          </a:ext>
                        </a:extLst>
                      </p:cNvPr>
                      <p:cNvPicPr/>
                      <p:nvPr/>
                    </p:nvPicPr>
                    <p:blipFill>
                      <a:blip r:embed="rId6"/>
                      <a:stretch>
                        <a:fillRect/>
                      </a:stretch>
                    </p:blipFill>
                    <p:spPr>
                      <a:xfrm>
                        <a:off x="1998" y="1588"/>
                        <a:ext cx="1996"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228C937-DB77-4CE8-ADD8-1F4E13233D6D}"/>
              </a:ext>
            </a:extLst>
          </p:cNvPr>
          <p:cNvSpPr/>
          <p:nvPr userDrawn="1">
            <p:custDataLst>
              <p:tags r:id="rId3"/>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1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3" name="Date Placeholder 2">
            <a:extLst>
              <a:ext uri="{FF2B5EF4-FFF2-40B4-BE49-F238E27FC236}">
                <a16:creationId xmlns:a16="http://schemas.microsoft.com/office/drawing/2014/main" id="{A352E422-A9C9-4AFF-8415-E1024DA8B80E}"/>
              </a:ext>
            </a:extLst>
          </p:cNvPr>
          <p:cNvSpPr>
            <a:spLocks noGrp="1"/>
          </p:cNvSpPr>
          <p:nvPr>
            <p:ph type="dt" sz="half" idx="10"/>
          </p:nvPr>
        </p:nvSpPr>
        <p:spPr bwMode="gray"/>
        <p:txBody>
          <a:bodyPr/>
          <a:lstStyle/>
          <a:p>
            <a:fld id="{5303B262-6A16-4CA2-8104-93FAE1864E6F}" type="datetime6">
              <a:rPr lang="de-AT" smtClean="0"/>
              <a:t>Oktober 21</a:t>
            </a:fld>
            <a:endParaRPr lang="en-US"/>
          </a:p>
        </p:txBody>
      </p:sp>
      <p:sp>
        <p:nvSpPr>
          <p:cNvPr id="6" name="Text Placeholder 3">
            <a:extLst>
              <a:ext uri="{FF2B5EF4-FFF2-40B4-BE49-F238E27FC236}">
                <a16:creationId xmlns:a16="http://schemas.microsoft.com/office/drawing/2014/main" id="{75FF1E81-B6FC-4E17-91FD-4C415821C89C}"/>
              </a:ext>
            </a:extLst>
          </p:cNvPr>
          <p:cNvSpPr>
            <a:spLocks noGrp="1"/>
          </p:cNvSpPr>
          <p:nvPr>
            <p:ph type="body" sz="quarter" idx="17" hasCustomPrompt="1"/>
          </p:nvPr>
        </p:nvSpPr>
        <p:spPr bwMode="gray">
          <a:xfrm>
            <a:off x="1396124" y="1420019"/>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8" name="Text Placeholder 3">
            <a:extLst>
              <a:ext uri="{FF2B5EF4-FFF2-40B4-BE49-F238E27FC236}">
                <a16:creationId xmlns:a16="http://schemas.microsoft.com/office/drawing/2014/main" id="{38517007-7160-436B-AEE3-5CB0C9EE5B6C}"/>
              </a:ext>
            </a:extLst>
          </p:cNvPr>
          <p:cNvSpPr>
            <a:spLocks noGrp="1"/>
          </p:cNvSpPr>
          <p:nvPr>
            <p:ph type="body" sz="quarter" idx="18" hasCustomPrompt="1"/>
          </p:nvPr>
        </p:nvSpPr>
        <p:spPr bwMode="gray">
          <a:xfrm>
            <a:off x="1396124" y="2376328"/>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9" name="Text Placeholder 3">
            <a:extLst>
              <a:ext uri="{FF2B5EF4-FFF2-40B4-BE49-F238E27FC236}">
                <a16:creationId xmlns:a16="http://schemas.microsoft.com/office/drawing/2014/main" id="{57E6E6B9-5A6D-483D-9427-A8A7C8CEC0A0}"/>
              </a:ext>
            </a:extLst>
          </p:cNvPr>
          <p:cNvSpPr>
            <a:spLocks noGrp="1"/>
          </p:cNvSpPr>
          <p:nvPr>
            <p:ph type="body" sz="quarter" idx="19" hasCustomPrompt="1"/>
          </p:nvPr>
        </p:nvSpPr>
        <p:spPr bwMode="gray">
          <a:xfrm>
            <a:off x="1396124" y="3332637"/>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0" name="Text Placeholder 3">
            <a:extLst>
              <a:ext uri="{FF2B5EF4-FFF2-40B4-BE49-F238E27FC236}">
                <a16:creationId xmlns:a16="http://schemas.microsoft.com/office/drawing/2014/main" id="{5D8365E9-2965-48D0-B78D-AE4551692974}"/>
              </a:ext>
            </a:extLst>
          </p:cNvPr>
          <p:cNvSpPr>
            <a:spLocks noGrp="1"/>
          </p:cNvSpPr>
          <p:nvPr>
            <p:ph type="body" sz="quarter" idx="20" hasCustomPrompt="1"/>
          </p:nvPr>
        </p:nvSpPr>
        <p:spPr bwMode="gray">
          <a:xfrm>
            <a:off x="1396124" y="4288946"/>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1" name="Text Placeholder 3">
            <a:extLst>
              <a:ext uri="{FF2B5EF4-FFF2-40B4-BE49-F238E27FC236}">
                <a16:creationId xmlns:a16="http://schemas.microsoft.com/office/drawing/2014/main" id="{6E0D4DED-ED55-47A3-A3E1-FA095DCCC10C}"/>
              </a:ext>
            </a:extLst>
          </p:cNvPr>
          <p:cNvSpPr>
            <a:spLocks noGrp="1"/>
          </p:cNvSpPr>
          <p:nvPr>
            <p:ph type="body" sz="quarter" idx="21" hasCustomPrompt="1"/>
          </p:nvPr>
        </p:nvSpPr>
        <p:spPr bwMode="gray">
          <a:xfrm>
            <a:off x="1396124" y="5245255"/>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2" name="Text Placeholder 3">
            <a:extLst>
              <a:ext uri="{FF2B5EF4-FFF2-40B4-BE49-F238E27FC236}">
                <a16:creationId xmlns:a16="http://schemas.microsoft.com/office/drawing/2014/main" id="{5AA6D539-46E6-42EC-9D57-7E3888068816}"/>
              </a:ext>
            </a:extLst>
          </p:cNvPr>
          <p:cNvSpPr>
            <a:spLocks noGrp="1"/>
          </p:cNvSpPr>
          <p:nvPr>
            <p:ph type="body" sz="quarter" idx="22" hasCustomPrompt="1"/>
          </p:nvPr>
        </p:nvSpPr>
        <p:spPr bwMode="gray">
          <a:xfrm>
            <a:off x="1396124" y="6201565"/>
            <a:ext cx="5333476"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3" name="Text Placeholder 3">
            <a:extLst>
              <a:ext uri="{FF2B5EF4-FFF2-40B4-BE49-F238E27FC236}">
                <a16:creationId xmlns:a16="http://schemas.microsoft.com/office/drawing/2014/main" id="{4F0B40F0-906B-45DE-910A-EC7BC15C8FBA}"/>
              </a:ext>
            </a:extLst>
          </p:cNvPr>
          <p:cNvSpPr>
            <a:spLocks noGrp="1"/>
          </p:cNvSpPr>
          <p:nvPr>
            <p:ph type="body" sz="quarter" idx="23" hasCustomPrompt="1"/>
          </p:nvPr>
        </p:nvSpPr>
        <p:spPr bwMode="gray">
          <a:xfrm>
            <a:off x="7796147" y="1420019"/>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4" name="Text Placeholder 3">
            <a:extLst>
              <a:ext uri="{FF2B5EF4-FFF2-40B4-BE49-F238E27FC236}">
                <a16:creationId xmlns:a16="http://schemas.microsoft.com/office/drawing/2014/main" id="{79D693ED-ACBE-4A70-B881-79BF6E6CB281}"/>
              </a:ext>
            </a:extLst>
          </p:cNvPr>
          <p:cNvSpPr>
            <a:spLocks noGrp="1"/>
          </p:cNvSpPr>
          <p:nvPr>
            <p:ph type="body" sz="quarter" idx="24" hasCustomPrompt="1"/>
          </p:nvPr>
        </p:nvSpPr>
        <p:spPr bwMode="gray">
          <a:xfrm>
            <a:off x="7796147" y="2376328"/>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15" name="Text Placeholder 3">
            <a:extLst>
              <a:ext uri="{FF2B5EF4-FFF2-40B4-BE49-F238E27FC236}">
                <a16:creationId xmlns:a16="http://schemas.microsoft.com/office/drawing/2014/main" id="{7C2B8079-A52B-48C1-880A-F6CA7E191C0F}"/>
              </a:ext>
            </a:extLst>
          </p:cNvPr>
          <p:cNvSpPr>
            <a:spLocks noGrp="1"/>
          </p:cNvSpPr>
          <p:nvPr>
            <p:ph type="body" sz="quarter" idx="25" hasCustomPrompt="1"/>
          </p:nvPr>
        </p:nvSpPr>
        <p:spPr bwMode="gray">
          <a:xfrm>
            <a:off x="7796147" y="3332637"/>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35" name="Text Placeholder 3">
            <a:extLst>
              <a:ext uri="{FF2B5EF4-FFF2-40B4-BE49-F238E27FC236}">
                <a16:creationId xmlns:a16="http://schemas.microsoft.com/office/drawing/2014/main" id="{E3B5A97F-5DFD-430F-9221-CB7A13DE2C6F}"/>
              </a:ext>
            </a:extLst>
          </p:cNvPr>
          <p:cNvSpPr>
            <a:spLocks noGrp="1"/>
          </p:cNvSpPr>
          <p:nvPr>
            <p:ph type="body" sz="quarter" idx="26" hasCustomPrompt="1"/>
          </p:nvPr>
        </p:nvSpPr>
        <p:spPr bwMode="gray">
          <a:xfrm>
            <a:off x="7796147" y="4288946"/>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36" name="Text Placeholder 3">
            <a:extLst>
              <a:ext uri="{FF2B5EF4-FFF2-40B4-BE49-F238E27FC236}">
                <a16:creationId xmlns:a16="http://schemas.microsoft.com/office/drawing/2014/main" id="{51A04683-BCAC-467D-9657-7D6B4DD27706}"/>
              </a:ext>
            </a:extLst>
          </p:cNvPr>
          <p:cNvSpPr>
            <a:spLocks noGrp="1"/>
          </p:cNvSpPr>
          <p:nvPr>
            <p:ph type="body" sz="quarter" idx="27" hasCustomPrompt="1"/>
          </p:nvPr>
        </p:nvSpPr>
        <p:spPr bwMode="gray">
          <a:xfrm>
            <a:off x="7796147" y="5245255"/>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37" name="Text Placeholder 3">
            <a:extLst>
              <a:ext uri="{FF2B5EF4-FFF2-40B4-BE49-F238E27FC236}">
                <a16:creationId xmlns:a16="http://schemas.microsoft.com/office/drawing/2014/main" id="{B912282C-0053-49D4-B1F2-8FD1889E743E}"/>
              </a:ext>
            </a:extLst>
          </p:cNvPr>
          <p:cNvSpPr>
            <a:spLocks noGrp="1"/>
          </p:cNvSpPr>
          <p:nvPr>
            <p:ph type="body" sz="quarter" idx="28" hasCustomPrompt="1"/>
          </p:nvPr>
        </p:nvSpPr>
        <p:spPr bwMode="gray">
          <a:xfrm>
            <a:off x="7796147" y="6201565"/>
            <a:ext cx="5328494" cy="428074"/>
          </a:xfrm>
        </p:spPr>
        <p:txBody>
          <a:bodyPr anchor="ctr"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38" name="Text Placeholder 3">
            <a:extLst>
              <a:ext uri="{FF2B5EF4-FFF2-40B4-BE49-F238E27FC236}">
                <a16:creationId xmlns:a16="http://schemas.microsoft.com/office/drawing/2014/main" id="{4E5EAB60-4AB0-4FF7-BBD9-AAC6144A3AA8}"/>
              </a:ext>
            </a:extLst>
          </p:cNvPr>
          <p:cNvSpPr>
            <a:spLocks noGrp="1"/>
          </p:cNvSpPr>
          <p:nvPr>
            <p:ph type="body" sz="quarter" idx="29" hasCustomPrompt="1"/>
          </p:nvPr>
        </p:nvSpPr>
        <p:spPr bwMode="gray">
          <a:xfrm>
            <a:off x="643753" y="1420019"/>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1</a:t>
            </a:r>
          </a:p>
        </p:txBody>
      </p:sp>
      <p:sp>
        <p:nvSpPr>
          <p:cNvPr id="39" name="Text Placeholder 3">
            <a:extLst>
              <a:ext uri="{FF2B5EF4-FFF2-40B4-BE49-F238E27FC236}">
                <a16:creationId xmlns:a16="http://schemas.microsoft.com/office/drawing/2014/main" id="{AC121B3F-7C97-4C9E-BC81-0DE964835F33}"/>
              </a:ext>
            </a:extLst>
          </p:cNvPr>
          <p:cNvSpPr>
            <a:spLocks noGrp="1"/>
          </p:cNvSpPr>
          <p:nvPr>
            <p:ph type="body" sz="quarter" idx="30" hasCustomPrompt="1"/>
          </p:nvPr>
        </p:nvSpPr>
        <p:spPr bwMode="gray">
          <a:xfrm>
            <a:off x="643753" y="2376328"/>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2</a:t>
            </a:r>
          </a:p>
        </p:txBody>
      </p:sp>
      <p:sp>
        <p:nvSpPr>
          <p:cNvPr id="40" name="Text Placeholder 3">
            <a:extLst>
              <a:ext uri="{FF2B5EF4-FFF2-40B4-BE49-F238E27FC236}">
                <a16:creationId xmlns:a16="http://schemas.microsoft.com/office/drawing/2014/main" id="{097C94F8-D8D7-4714-A0B5-7CD8B0637AA0}"/>
              </a:ext>
            </a:extLst>
          </p:cNvPr>
          <p:cNvSpPr>
            <a:spLocks noGrp="1"/>
          </p:cNvSpPr>
          <p:nvPr>
            <p:ph type="body" sz="quarter" idx="31" hasCustomPrompt="1"/>
          </p:nvPr>
        </p:nvSpPr>
        <p:spPr bwMode="gray">
          <a:xfrm>
            <a:off x="643753" y="3332637"/>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3</a:t>
            </a:r>
          </a:p>
        </p:txBody>
      </p:sp>
      <p:sp>
        <p:nvSpPr>
          <p:cNvPr id="41" name="Text Placeholder 3">
            <a:extLst>
              <a:ext uri="{FF2B5EF4-FFF2-40B4-BE49-F238E27FC236}">
                <a16:creationId xmlns:a16="http://schemas.microsoft.com/office/drawing/2014/main" id="{2D967E4E-C31E-41DD-9A5A-8507F2CFE77A}"/>
              </a:ext>
            </a:extLst>
          </p:cNvPr>
          <p:cNvSpPr>
            <a:spLocks noGrp="1"/>
          </p:cNvSpPr>
          <p:nvPr>
            <p:ph type="body" sz="quarter" idx="32" hasCustomPrompt="1"/>
          </p:nvPr>
        </p:nvSpPr>
        <p:spPr bwMode="gray">
          <a:xfrm>
            <a:off x="643753" y="4288946"/>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4</a:t>
            </a:r>
          </a:p>
        </p:txBody>
      </p:sp>
      <p:sp>
        <p:nvSpPr>
          <p:cNvPr id="42" name="Text Placeholder 3">
            <a:extLst>
              <a:ext uri="{FF2B5EF4-FFF2-40B4-BE49-F238E27FC236}">
                <a16:creationId xmlns:a16="http://schemas.microsoft.com/office/drawing/2014/main" id="{264E96FA-32D1-40C6-8F07-4C375DFB9D79}"/>
              </a:ext>
            </a:extLst>
          </p:cNvPr>
          <p:cNvSpPr>
            <a:spLocks noGrp="1"/>
          </p:cNvSpPr>
          <p:nvPr>
            <p:ph type="body" sz="quarter" idx="33" hasCustomPrompt="1"/>
          </p:nvPr>
        </p:nvSpPr>
        <p:spPr bwMode="gray">
          <a:xfrm>
            <a:off x="643753" y="5245255"/>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5</a:t>
            </a:r>
          </a:p>
        </p:txBody>
      </p:sp>
      <p:sp>
        <p:nvSpPr>
          <p:cNvPr id="43" name="Text Placeholder 3">
            <a:extLst>
              <a:ext uri="{FF2B5EF4-FFF2-40B4-BE49-F238E27FC236}">
                <a16:creationId xmlns:a16="http://schemas.microsoft.com/office/drawing/2014/main" id="{5C399FFC-D397-451C-970A-5B06328C4D2B}"/>
              </a:ext>
            </a:extLst>
          </p:cNvPr>
          <p:cNvSpPr>
            <a:spLocks noGrp="1"/>
          </p:cNvSpPr>
          <p:nvPr>
            <p:ph type="body" sz="quarter" idx="34" hasCustomPrompt="1"/>
          </p:nvPr>
        </p:nvSpPr>
        <p:spPr bwMode="gray">
          <a:xfrm>
            <a:off x="643753" y="6201565"/>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6</a:t>
            </a:r>
          </a:p>
        </p:txBody>
      </p:sp>
      <p:sp>
        <p:nvSpPr>
          <p:cNvPr id="44" name="Text Placeholder 3">
            <a:extLst>
              <a:ext uri="{FF2B5EF4-FFF2-40B4-BE49-F238E27FC236}">
                <a16:creationId xmlns:a16="http://schemas.microsoft.com/office/drawing/2014/main" id="{A3A5A7A7-5957-452F-A2F9-06042FF46D33}"/>
              </a:ext>
            </a:extLst>
          </p:cNvPr>
          <p:cNvSpPr>
            <a:spLocks noGrp="1"/>
          </p:cNvSpPr>
          <p:nvPr>
            <p:ph type="body" sz="quarter" idx="35" hasCustomPrompt="1"/>
          </p:nvPr>
        </p:nvSpPr>
        <p:spPr bwMode="gray">
          <a:xfrm>
            <a:off x="7041784" y="1420019"/>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7</a:t>
            </a:r>
          </a:p>
        </p:txBody>
      </p:sp>
      <p:sp>
        <p:nvSpPr>
          <p:cNvPr id="45" name="Text Placeholder 3">
            <a:extLst>
              <a:ext uri="{FF2B5EF4-FFF2-40B4-BE49-F238E27FC236}">
                <a16:creationId xmlns:a16="http://schemas.microsoft.com/office/drawing/2014/main" id="{3D18B793-8C39-4F38-867F-7681C49FEF4B}"/>
              </a:ext>
            </a:extLst>
          </p:cNvPr>
          <p:cNvSpPr>
            <a:spLocks noGrp="1"/>
          </p:cNvSpPr>
          <p:nvPr>
            <p:ph type="body" sz="quarter" idx="36" hasCustomPrompt="1"/>
          </p:nvPr>
        </p:nvSpPr>
        <p:spPr bwMode="gray">
          <a:xfrm>
            <a:off x="7041784" y="2376328"/>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8</a:t>
            </a:r>
          </a:p>
        </p:txBody>
      </p:sp>
      <p:sp>
        <p:nvSpPr>
          <p:cNvPr id="46" name="Text Placeholder 3">
            <a:extLst>
              <a:ext uri="{FF2B5EF4-FFF2-40B4-BE49-F238E27FC236}">
                <a16:creationId xmlns:a16="http://schemas.microsoft.com/office/drawing/2014/main" id="{EB0547B4-8FF9-40B8-900B-BE08E71D5246}"/>
              </a:ext>
            </a:extLst>
          </p:cNvPr>
          <p:cNvSpPr>
            <a:spLocks noGrp="1"/>
          </p:cNvSpPr>
          <p:nvPr>
            <p:ph type="body" sz="quarter" idx="37" hasCustomPrompt="1"/>
          </p:nvPr>
        </p:nvSpPr>
        <p:spPr bwMode="gray">
          <a:xfrm>
            <a:off x="7041784" y="3332637"/>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9</a:t>
            </a:r>
          </a:p>
        </p:txBody>
      </p:sp>
      <p:sp>
        <p:nvSpPr>
          <p:cNvPr id="47" name="Text Placeholder 3">
            <a:extLst>
              <a:ext uri="{FF2B5EF4-FFF2-40B4-BE49-F238E27FC236}">
                <a16:creationId xmlns:a16="http://schemas.microsoft.com/office/drawing/2014/main" id="{66A6891E-C2F2-4DDD-A834-77D8A94145B4}"/>
              </a:ext>
            </a:extLst>
          </p:cNvPr>
          <p:cNvSpPr>
            <a:spLocks noGrp="1"/>
          </p:cNvSpPr>
          <p:nvPr>
            <p:ph type="body" sz="quarter" idx="38" hasCustomPrompt="1"/>
          </p:nvPr>
        </p:nvSpPr>
        <p:spPr bwMode="gray">
          <a:xfrm>
            <a:off x="7041784" y="4288946"/>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10</a:t>
            </a:r>
          </a:p>
        </p:txBody>
      </p:sp>
      <p:sp>
        <p:nvSpPr>
          <p:cNvPr id="48" name="Text Placeholder 3">
            <a:extLst>
              <a:ext uri="{FF2B5EF4-FFF2-40B4-BE49-F238E27FC236}">
                <a16:creationId xmlns:a16="http://schemas.microsoft.com/office/drawing/2014/main" id="{37B0AC72-BF3C-4C0F-A246-0656DB1DB7F1}"/>
              </a:ext>
            </a:extLst>
          </p:cNvPr>
          <p:cNvSpPr>
            <a:spLocks noGrp="1"/>
          </p:cNvSpPr>
          <p:nvPr>
            <p:ph type="body" sz="quarter" idx="39" hasCustomPrompt="1"/>
          </p:nvPr>
        </p:nvSpPr>
        <p:spPr bwMode="gray">
          <a:xfrm>
            <a:off x="7041784" y="5245255"/>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11</a:t>
            </a:r>
          </a:p>
        </p:txBody>
      </p:sp>
      <p:sp>
        <p:nvSpPr>
          <p:cNvPr id="49" name="Text Placeholder 3">
            <a:extLst>
              <a:ext uri="{FF2B5EF4-FFF2-40B4-BE49-F238E27FC236}">
                <a16:creationId xmlns:a16="http://schemas.microsoft.com/office/drawing/2014/main" id="{9A681D04-CF42-4129-B72C-11134D070393}"/>
              </a:ext>
            </a:extLst>
          </p:cNvPr>
          <p:cNvSpPr>
            <a:spLocks noGrp="1"/>
          </p:cNvSpPr>
          <p:nvPr>
            <p:ph type="body" sz="quarter" idx="40" hasCustomPrompt="1"/>
          </p:nvPr>
        </p:nvSpPr>
        <p:spPr bwMode="gray">
          <a:xfrm>
            <a:off x="7041784" y="6201565"/>
            <a:ext cx="538553" cy="428074"/>
          </a:xfrm>
          <a:solidFill>
            <a:schemeClr val="bg1">
              <a:lumMod val="85000"/>
            </a:schemeClr>
          </a:solidFill>
        </p:spPr>
        <p:txBody>
          <a:bodyPr anchor="ctr" anchorCtr="0"/>
          <a:lstStyle>
            <a:lvl1pPr marL="0" indent="0" algn="ctr">
              <a:lnSpc>
                <a:spcPct val="90000"/>
              </a:lnSpc>
              <a:spcAft>
                <a:spcPts val="0"/>
              </a:spcAft>
              <a:buFont typeface="Arial" panose="020B0604020202020204" pitchFamily="34" charset="0"/>
              <a:buNone/>
              <a:defRPr b="1"/>
            </a:lvl1pPr>
            <a:lvl2pPr marL="0" indent="0" algn="ctr">
              <a:lnSpc>
                <a:spcPct val="90000"/>
              </a:lnSpc>
              <a:spcAft>
                <a:spcPts val="0"/>
              </a:spcAft>
              <a:buFont typeface="Arial" panose="020B0604020202020204" pitchFamily="34" charset="0"/>
              <a:buNone/>
              <a:defRPr b="1"/>
            </a:lvl2pPr>
            <a:lvl3pPr marL="0" indent="0" algn="ctr">
              <a:lnSpc>
                <a:spcPct val="90000"/>
              </a:lnSpc>
              <a:spcAft>
                <a:spcPts val="0"/>
              </a:spcAft>
              <a:buNone/>
              <a:defRPr b="1"/>
            </a:lvl3pPr>
            <a:lvl4pPr marL="0" indent="0" algn="ctr">
              <a:lnSpc>
                <a:spcPct val="90000"/>
              </a:lnSpc>
              <a:spcAft>
                <a:spcPts val="0"/>
              </a:spcAft>
              <a:buNone/>
              <a:defRPr b="1"/>
            </a:lvl4pPr>
            <a:lvl5pPr marL="0" indent="0" algn="ctr">
              <a:lnSpc>
                <a:spcPct val="90000"/>
              </a:lnSpc>
              <a:spcAft>
                <a:spcPts val="0"/>
              </a:spcAft>
              <a:buNone/>
              <a:defRPr b="1"/>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11</a:t>
            </a:r>
          </a:p>
        </p:txBody>
      </p:sp>
      <p:sp>
        <p:nvSpPr>
          <p:cNvPr id="2" name="Title 1">
            <a:extLst>
              <a:ext uri="{FF2B5EF4-FFF2-40B4-BE49-F238E27FC236}">
                <a16:creationId xmlns:a16="http://schemas.microsoft.com/office/drawing/2014/main" id="{7D4419DD-AB8D-4AE7-BCFB-EEF4EF91CBDB}"/>
              </a:ext>
            </a:extLst>
          </p:cNvPr>
          <p:cNvSpPr>
            <a:spLocks noGrp="1"/>
          </p:cNvSpPr>
          <p:nvPr>
            <p:ph type="title"/>
          </p:nvPr>
        </p:nvSpPr>
        <p:spPr bwMode="gray"/>
        <p:txBody>
          <a:bodyPr/>
          <a:lstStyle/>
          <a:p>
            <a:r>
              <a:rPr lang="de-DE"/>
              <a:t>Mastertitelformat bearbeiten</a:t>
            </a:r>
            <a:endParaRPr lang="en-US"/>
          </a:p>
        </p:txBody>
      </p:sp>
    </p:spTree>
    <p:extLst>
      <p:ext uri="{BB962C8B-B14F-4D97-AF65-F5344CB8AC3E}">
        <p14:creationId xmlns:p14="http://schemas.microsoft.com/office/powerpoint/2010/main" val="27425509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BF046-331E-4203-8A1F-F3C1620B5499}"/>
              </a:ext>
            </a:extLst>
          </p:cNvPr>
          <p:cNvSpPr>
            <a:spLocks noGrp="1"/>
          </p:cNvSpPr>
          <p:nvPr>
            <p:ph type="title"/>
          </p:nvPr>
        </p:nvSpPr>
        <p:spPr bwMode="gray"/>
        <p:txBody>
          <a:bodyPr/>
          <a:lstStyle/>
          <a:p>
            <a:r>
              <a:rPr lang="de-DE"/>
              <a:t>Mastertitelformat bearbeiten</a:t>
            </a:r>
            <a:endParaRPr lang="en-US"/>
          </a:p>
        </p:txBody>
      </p:sp>
      <p:sp>
        <p:nvSpPr>
          <p:cNvPr id="4" name="Inhaltsplatzhalter 3">
            <a:extLst>
              <a:ext uri="{FF2B5EF4-FFF2-40B4-BE49-F238E27FC236}">
                <a16:creationId xmlns:a16="http://schemas.microsoft.com/office/drawing/2014/main" id="{1D5D567E-F3F9-43B9-9BE7-9BB9BDF7F21B}"/>
              </a:ext>
            </a:extLst>
          </p:cNvPr>
          <p:cNvSpPr>
            <a:spLocks noGrp="1"/>
          </p:cNvSpPr>
          <p:nvPr>
            <p:ph sz="quarter" idx="10"/>
          </p:nvPr>
        </p:nvSpPr>
        <p:spPr>
          <a:xfrm>
            <a:off x="634630" y="1417639"/>
            <a:ext cx="12493003"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95499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5" name="Inhaltsplatzhalter 3">
            <a:extLst>
              <a:ext uri="{FF2B5EF4-FFF2-40B4-BE49-F238E27FC236}">
                <a16:creationId xmlns:a16="http://schemas.microsoft.com/office/drawing/2014/main" id="{AEB294B2-613B-4C2B-AB58-94E3AD96B66D}"/>
              </a:ext>
            </a:extLst>
          </p:cNvPr>
          <p:cNvSpPr>
            <a:spLocks noGrp="1"/>
          </p:cNvSpPr>
          <p:nvPr>
            <p:ph sz="quarter" idx="10"/>
          </p:nvPr>
        </p:nvSpPr>
        <p:spPr>
          <a:xfrm>
            <a:off x="634630" y="1417639"/>
            <a:ext cx="12493003"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3" name="Datumsplatzhalter 2">
            <a:extLst>
              <a:ext uri="{FF2B5EF4-FFF2-40B4-BE49-F238E27FC236}">
                <a16:creationId xmlns:a16="http://schemas.microsoft.com/office/drawing/2014/main" id="{AD480257-CF0F-4322-AE6D-1B251215CF2E}"/>
              </a:ext>
            </a:extLst>
          </p:cNvPr>
          <p:cNvSpPr>
            <a:spLocks noGrp="1"/>
          </p:cNvSpPr>
          <p:nvPr>
            <p:ph type="dt" sz="half" idx="11"/>
          </p:nvPr>
        </p:nvSpPr>
        <p:spPr/>
        <p:txBody>
          <a:bodyPr/>
          <a:lstStyle/>
          <a:p>
            <a:fld id="{CC60022D-6C62-419D-9BC2-A201C6B4C0E9}" type="datetime6">
              <a:rPr lang="de-AT" smtClean="0"/>
              <a:t>Oktober 21</a:t>
            </a:fld>
            <a:endParaRPr lang="en-US"/>
          </a:p>
        </p:txBody>
      </p:sp>
      <p:sp>
        <p:nvSpPr>
          <p:cNvPr id="4" name="Titel 3">
            <a:extLst>
              <a:ext uri="{FF2B5EF4-FFF2-40B4-BE49-F238E27FC236}">
                <a16:creationId xmlns:a16="http://schemas.microsoft.com/office/drawing/2014/main" id="{DE321DF0-13B8-435D-B6B1-165DF446F1B4}"/>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939531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de-DE"/>
              <a:t>Mastertitelformat bearbeiten</a:t>
            </a:r>
            <a:endParaRPr lang="en-US"/>
          </a:p>
        </p:txBody>
      </p:sp>
      <p:sp>
        <p:nvSpPr>
          <p:cNvPr id="4" name="Inhaltsplatzhalter 3">
            <a:extLst>
              <a:ext uri="{FF2B5EF4-FFF2-40B4-BE49-F238E27FC236}">
                <a16:creationId xmlns:a16="http://schemas.microsoft.com/office/drawing/2014/main" id="{864279A1-2C0D-4ADB-8365-555263453743}"/>
              </a:ext>
            </a:extLst>
          </p:cNvPr>
          <p:cNvSpPr>
            <a:spLocks noGrp="1"/>
          </p:cNvSpPr>
          <p:nvPr>
            <p:ph sz="quarter" idx="10"/>
          </p:nvPr>
        </p:nvSpPr>
        <p:spPr>
          <a:xfrm>
            <a:off x="634630" y="1417639"/>
            <a:ext cx="6086846"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8" name="Inhaltsplatzhalter 3">
            <a:extLst>
              <a:ext uri="{FF2B5EF4-FFF2-40B4-BE49-F238E27FC236}">
                <a16:creationId xmlns:a16="http://schemas.microsoft.com/office/drawing/2014/main" id="{FD99F869-4951-4C34-AB4C-DB5AA355D1CA}"/>
              </a:ext>
            </a:extLst>
          </p:cNvPr>
          <p:cNvSpPr>
            <a:spLocks noGrp="1"/>
          </p:cNvSpPr>
          <p:nvPr>
            <p:ph sz="quarter" idx="11"/>
          </p:nvPr>
        </p:nvSpPr>
        <p:spPr>
          <a:xfrm>
            <a:off x="7038792" y="1427369"/>
            <a:ext cx="6077260" cy="55006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14229068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ext 2 (2)">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F1072572-9379-4236-B6FE-7484C2278CCD}"/>
              </a:ext>
            </a:extLst>
          </p:cNvPr>
          <p:cNvCxnSpPr>
            <a:cxnSpLocks/>
          </p:cNvCxnSpPr>
          <p:nvPr userDrawn="1"/>
        </p:nvCxnSpPr>
        <p:spPr bwMode="gray">
          <a:xfrm>
            <a:off x="658682" y="1637218"/>
            <a:ext cx="1246895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89E0CE-0FDF-465D-A355-DF537A408FD7}"/>
              </a:ext>
            </a:extLst>
          </p:cNvPr>
          <p:cNvSpPr>
            <a:spLocks noGrp="1"/>
          </p:cNvSpPr>
          <p:nvPr>
            <p:ph type="title"/>
          </p:nvPr>
        </p:nvSpPr>
        <p:spPr bwMode="gray">
          <a:xfrm>
            <a:off x="634631" y="471294"/>
            <a:ext cx="10571473" cy="407480"/>
          </a:xfrm>
        </p:spPr>
        <p:txBody>
          <a:bodyPr/>
          <a:lstStyle/>
          <a:p>
            <a:r>
              <a:rPr lang="de-DE"/>
              <a:t>Mastertitelformat bearbeiten</a:t>
            </a:r>
            <a:endParaRPr lang="en-US"/>
          </a:p>
        </p:txBody>
      </p:sp>
      <p:sp>
        <p:nvSpPr>
          <p:cNvPr id="18" name="Text Placeholder 6">
            <a:extLst>
              <a:ext uri="{FF2B5EF4-FFF2-40B4-BE49-F238E27FC236}">
                <a16:creationId xmlns:a16="http://schemas.microsoft.com/office/drawing/2014/main" id="{59F0279B-8E23-48B7-92B2-349C0915CB17}"/>
              </a:ext>
            </a:extLst>
          </p:cNvPr>
          <p:cNvSpPr>
            <a:spLocks noGrp="1"/>
          </p:cNvSpPr>
          <p:nvPr>
            <p:ph type="body" sz="quarter" idx="25" hasCustomPrompt="1"/>
          </p:nvPr>
        </p:nvSpPr>
        <p:spPr bwMode="gray">
          <a:xfrm>
            <a:off x="653011" y="1371605"/>
            <a:ext cx="12474622" cy="237029"/>
          </a:xfrm>
          <a:noFill/>
        </p:spPr>
        <p:txBody>
          <a:bodyPr lIns="0" tIns="0" rIns="0" bIns="0" anchor="b" anchorCtr="0"/>
          <a:lstStyle>
            <a:lvl1pPr marL="0" indent="0">
              <a:lnSpc>
                <a:spcPct val="90000"/>
              </a:lnSpc>
              <a:spcAft>
                <a:spcPts val="0"/>
              </a:spcAft>
              <a:buFont typeface="Arial" panose="020B0604020202020204" pitchFamily="34" charset="0"/>
              <a:buNone/>
              <a:defRPr b="1"/>
            </a:lvl1pPr>
            <a:lvl2pPr marL="0" indent="0">
              <a:lnSpc>
                <a:spcPct val="90000"/>
              </a:lnSpc>
              <a:spcAft>
                <a:spcPts val="0"/>
              </a:spcAft>
              <a:buFont typeface="Arial" panose="020B0604020202020204" pitchFamily="34" charset="0"/>
              <a:buNone/>
              <a:defRPr b="1"/>
            </a:lvl2pPr>
            <a:lvl3pPr marL="0" indent="0">
              <a:lnSpc>
                <a:spcPct val="90000"/>
              </a:lnSpc>
              <a:spcAft>
                <a:spcPts val="0"/>
              </a:spcAft>
              <a:buNone/>
              <a:defRPr b="1"/>
            </a:lvl3pPr>
            <a:lvl4pPr marL="0" indent="0">
              <a:lnSpc>
                <a:spcPct val="90000"/>
              </a:lnSpc>
              <a:spcAft>
                <a:spcPts val="0"/>
              </a:spcAft>
              <a:buNone/>
              <a:defRPr b="1"/>
            </a:lvl4pPr>
            <a:lvl5pPr marL="0" indent="0">
              <a:lnSpc>
                <a:spcPct val="90000"/>
              </a:lnSpc>
              <a:spcAft>
                <a:spcPts val="0"/>
              </a:spcAft>
              <a:buNone/>
              <a:defRPr b="1"/>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p:txBody>
      </p:sp>
      <p:sp>
        <p:nvSpPr>
          <p:cNvPr id="4" name="Inhaltsplatzhalter 3">
            <a:extLst>
              <a:ext uri="{FF2B5EF4-FFF2-40B4-BE49-F238E27FC236}">
                <a16:creationId xmlns:a16="http://schemas.microsoft.com/office/drawing/2014/main" id="{BA57E667-DEDB-446B-B823-BB4CB3B5DB1D}"/>
              </a:ext>
            </a:extLst>
          </p:cNvPr>
          <p:cNvSpPr>
            <a:spLocks noGrp="1"/>
          </p:cNvSpPr>
          <p:nvPr>
            <p:ph sz="quarter" idx="26"/>
          </p:nvPr>
        </p:nvSpPr>
        <p:spPr>
          <a:xfrm>
            <a:off x="634630" y="1819275"/>
            <a:ext cx="12493003" cy="50990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37485879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29AA85A-560B-461D-80F6-DF30E7B248A6}"/>
              </a:ext>
            </a:extLst>
          </p:cNvPr>
          <p:cNvGraphicFramePr>
            <a:graphicFrameLocks noChangeAspect="1"/>
          </p:cNvGraphicFramePr>
          <p:nvPr userDrawn="1">
            <p:custDataLst>
              <p:tags r:id="rId29"/>
            </p:custDataLst>
            <p:extLst>
              <p:ext uri="{D42A27DB-BD31-4B8C-83A1-F6EECF244321}">
                <p14:modId xmlns:p14="http://schemas.microsoft.com/office/powerpoint/2010/main" val="2348777099"/>
              </p:ext>
            </p:extLst>
          </p:nvPr>
        </p:nvGraphicFramePr>
        <p:xfrm>
          <a:off x="1998" y="1588"/>
          <a:ext cx="1996" cy="1588"/>
        </p:xfrm>
        <a:graphic>
          <a:graphicData uri="http://schemas.openxmlformats.org/presentationml/2006/ole">
            <mc:AlternateContent xmlns:mc="http://schemas.openxmlformats.org/markup-compatibility/2006">
              <mc:Choice xmlns:v="urn:schemas-microsoft-com:vml" Requires="v">
                <p:oleObj spid="_x0000_s1026" name="think-cell Slide" r:id="rId31" imgW="351" imgH="351" progId="TCLayout.ActiveDocument.1">
                  <p:embed/>
                </p:oleObj>
              </mc:Choice>
              <mc:Fallback>
                <p:oleObj name="think-cell Slide" r:id="rId31" imgW="351" imgH="351" progId="TCLayout.ActiveDocument.1">
                  <p:embed/>
                  <p:pic>
                    <p:nvPicPr>
                      <p:cNvPr id="9" name="Object 8" hidden="1">
                        <a:extLst>
                          <a:ext uri="{FF2B5EF4-FFF2-40B4-BE49-F238E27FC236}">
                            <a16:creationId xmlns:a16="http://schemas.microsoft.com/office/drawing/2014/main" id="{329AA85A-560B-461D-80F6-DF30E7B248A6}"/>
                          </a:ext>
                        </a:extLst>
                      </p:cNvPr>
                      <p:cNvPicPr/>
                      <p:nvPr/>
                    </p:nvPicPr>
                    <p:blipFill>
                      <a:blip r:embed="rId32"/>
                      <a:stretch>
                        <a:fillRect/>
                      </a:stretch>
                    </p:blipFill>
                    <p:spPr>
                      <a:xfrm>
                        <a:off x="1998" y="1588"/>
                        <a:ext cx="1996"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B9A1497-200A-47FB-9661-53E6665EEB63}"/>
              </a:ext>
            </a:extLst>
          </p:cNvPr>
          <p:cNvSpPr/>
          <p:nvPr userDrawn="1">
            <p:custDataLst>
              <p:tags r:id="rId30"/>
            </p:custDataLst>
          </p:nvPr>
        </p:nvSpPr>
        <p:spPr bwMode="gray">
          <a:xfrm>
            <a:off x="2" y="0"/>
            <a:ext cx="199569"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17"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E4BB2C31-7446-43F0-BD7A-95112B729885}"/>
              </a:ext>
            </a:extLst>
          </p:cNvPr>
          <p:cNvSpPr/>
          <p:nvPr/>
        </p:nvSpPr>
        <p:spPr bwMode="gray">
          <a:xfrm>
            <a:off x="2" y="0"/>
            <a:ext cx="1344295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63"/>
          </a:p>
        </p:txBody>
      </p:sp>
      <p:sp>
        <p:nvSpPr>
          <p:cNvPr id="2" name="Title Placeholder 1">
            <a:extLst>
              <a:ext uri="{FF2B5EF4-FFF2-40B4-BE49-F238E27FC236}">
                <a16:creationId xmlns:a16="http://schemas.microsoft.com/office/drawing/2014/main" id="{07E842D7-B92D-4340-BA79-8058034694D2}"/>
              </a:ext>
            </a:extLst>
          </p:cNvPr>
          <p:cNvSpPr>
            <a:spLocks noGrp="1"/>
          </p:cNvSpPr>
          <p:nvPr>
            <p:ph type="title"/>
          </p:nvPr>
        </p:nvSpPr>
        <p:spPr bwMode="gray">
          <a:xfrm>
            <a:off x="634629" y="471294"/>
            <a:ext cx="10546210" cy="374634"/>
          </a:xfrm>
          <a:prstGeom prst="rect">
            <a:avLst/>
          </a:prstGeom>
        </p:spPr>
        <p:txBody>
          <a:bodyPr vert="horz" lIns="0" tIns="0" rIns="0" bIns="0" rtlCol="0" anchor="b" anchorCtr="0">
            <a:no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43C4378D-0771-4208-8A8C-AC6EC1CFFE62}"/>
              </a:ext>
            </a:extLst>
          </p:cNvPr>
          <p:cNvSpPr>
            <a:spLocks noGrp="1"/>
          </p:cNvSpPr>
          <p:nvPr>
            <p:ph type="body" idx="1"/>
          </p:nvPr>
        </p:nvSpPr>
        <p:spPr bwMode="gray">
          <a:xfrm>
            <a:off x="634629" y="1345224"/>
            <a:ext cx="12490010" cy="5570688"/>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a:extLst>
              <a:ext uri="{FF2B5EF4-FFF2-40B4-BE49-F238E27FC236}">
                <a16:creationId xmlns:a16="http://schemas.microsoft.com/office/drawing/2014/main" id="{AF647ED5-28C2-4472-895B-18592FFF5288}"/>
              </a:ext>
            </a:extLst>
          </p:cNvPr>
          <p:cNvSpPr>
            <a:spLocks noGrp="1"/>
          </p:cNvSpPr>
          <p:nvPr>
            <p:ph type="dt" sz="half" idx="2"/>
          </p:nvPr>
        </p:nvSpPr>
        <p:spPr bwMode="gray">
          <a:xfrm>
            <a:off x="592723" y="7603729"/>
            <a:ext cx="777319" cy="211779"/>
          </a:xfrm>
          <a:prstGeom prst="rect">
            <a:avLst/>
          </a:prstGeom>
        </p:spPr>
        <p:txBody>
          <a:bodyPr vert="horz" lIns="0" tIns="0" rIns="0" bIns="0" rtlCol="0" anchor="ctr"/>
          <a:lstStyle>
            <a:lvl1pPr algn="ctr">
              <a:defRPr sz="1131">
                <a:noFill/>
              </a:defRPr>
            </a:lvl1pPr>
            <a:lvl2pPr marL="0" algn="ctr">
              <a:defRPr sz="1131">
                <a:noFill/>
              </a:defRPr>
            </a:lvl2pPr>
            <a:lvl3pPr marL="0" algn="ctr">
              <a:defRPr sz="1131">
                <a:noFill/>
              </a:defRPr>
            </a:lvl3pPr>
            <a:lvl4pPr marL="0" algn="ctr">
              <a:defRPr sz="1131">
                <a:noFill/>
              </a:defRPr>
            </a:lvl4pPr>
            <a:lvl5pPr marL="0" algn="ctr">
              <a:defRPr sz="1131">
                <a:noFill/>
              </a:defRPr>
            </a:lvl5pPr>
            <a:lvl6pPr marL="0" algn="ctr">
              <a:defRPr sz="1131">
                <a:noFill/>
              </a:defRPr>
            </a:lvl6pPr>
            <a:lvl7pPr marL="0" algn="ctr">
              <a:defRPr sz="1131">
                <a:noFill/>
              </a:defRPr>
            </a:lvl7pPr>
            <a:lvl8pPr marL="0" algn="ctr">
              <a:defRPr sz="1131">
                <a:noFill/>
              </a:defRPr>
            </a:lvl8pPr>
            <a:lvl9pPr marL="0" algn="ctr">
              <a:defRPr sz="1131">
                <a:noFill/>
              </a:defRPr>
            </a:lvl9pPr>
          </a:lstStyle>
          <a:p>
            <a:fld id="{CC60022D-6C62-419D-9BC2-A201C6B4C0E9}" type="datetime6">
              <a:rPr lang="de-AT" smtClean="0"/>
              <a:t>Oktober 21</a:t>
            </a:fld>
            <a:endParaRPr lang="en-US"/>
          </a:p>
        </p:txBody>
      </p:sp>
      <p:cxnSp>
        <p:nvCxnSpPr>
          <p:cNvPr id="14" name="Gerader Verbinder 3">
            <a:extLst>
              <a:ext uri="{FF2B5EF4-FFF2-40B4-BE49-F238E27FC236}">
                <a16:creationId xmlns:a16="http://schemas.microsoft.com/office/drawing/2014/main" id="{3F8290B7-9E7A-4ECB-A6D2-3469817EFEF2}"/>
              </a:ext>
            </a:extLst>
          </p:cNvPr>
          <p:cNvCxnSpPr>
            <a:cxnSpLocks/>
          </p:cNvCxnSpPr>
          <p:nvPr/>
        </p:nvCxnSpPr>
        <p:spPr bwMode="gray">
          <a:xfrm>
            <a:off x="634630" y="1013328"/>
            <a:ext cx="1249300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r Verbinder 3">
            <a:extLst>
              <a:ext uri="{FF2B5EF4-FFF2-40B4-BE49-F238E27FC236}">
                <a16:creationId xmlns:a16="http://schemas.microsoft.com/office/drawing/2014/main" id="{50C3DD12-E59B-4FB1-8D53-2402F04E5C09}"/>
              </a:ext>
            </a:extLst>
          </p:cNvPr>
          <p:cNvCxnSpPr>
            <a:cxnSpLocks/>
          </p:cNvCxnSpPr>
          <p:nvPr userDrawn="1"/>
        </p:nvCxnSpPr>
        <p:spPr bwMode="gray">
          <a:xfrm>
            <a:off x="634630" y="7104169"/>
            <a:ext cx="12493003"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23">
            <a:extLst>
              <a:ext uri="{FF2B5EF4-FFF2-40B4-BE49-F238E27FC236}">
                <a16:creationId xmlns:a16="http://schemas.microsoft.com/office/drawing/2014/main" id="{F8EB36AF-42BE-44D7-9663-F87200B0A3D1}"/>
              </a:ext>
            </a:extLst>
          </p:cNvPr>
          <p:cNvCxnSpPr>
            <a:cxnSpLocks/>
          </p:cNvCxnSpPr>
          <p:nvPr userDrawn="1"/>
        </p:nvCxnSpPr>
        <p:spPr>
          <a:xfrm flipV="1">
            <a:off x="1738825" y="7154221"/>
            <a:ext cx="0" cy="180000"/>
          </a:xfrm>
          <a:prstGeom prst="line">
            <a:avLst/>
          </a:prstGeom>
          <a:ln>
            <a:solidFill>
              <a:srgbClr val="A3A3A3"/>
            </a:solidFill>
          </a:ln>
        </p:spPr>
        <p:style>
          <a:lnRef idx="1">
            <a:schemeClr val="accent1"/>
          </a:lnRef>
          <a:fillRef idx="0">
            <a:schemeClr val="accent1"/>
          </a:fillRef>
          <a:effectRef idx="0">
            <a:schemeClr val="accent1"/>
          </a:effectRef>
          <a:fontRef idx="minor">
            <a:schemeClr val="tx1"/>
          </a:fontRef>
        </p:style>
      </p:cxnSp>
      <p:sp>
        <p:nvSpPr>
          <p:cNvPr id="21" name="TextBox 24">
            <a:extLst>
              <a:ext uri="{FF2B5EF4-FFF2-40B4-BE49-F238E27FC236}">
                <a16:creationId xmlns:a16="http://schemas.microsoft.com/office/drawing/2014/main" id="{E30E2159-F0B6-4458-91BD-A3758B0745A7}"/>
              </a:ext>
            </a:extLst>
          </p:cNvPr>
          <p:cNvSpPr txBox="1"/>
          <p:nvPr userDrawn="1"/>
        </p:nvSpPr>
        <p:spPr>
          <a:xfrm>
            <a:off x="1989274" y="7014509"/>
            <a:ext cx="6246094" cy="463733"/>
          </a:xfrm>
          <a:prstGeom prst="rect">
            <a:avLst/>
          </a:prstGeom>
          <a:noFill/>
          <a:ln w="9525">
            <a:noFill/>
          </a:ln>
        </p:spPr>
        <p:txBody>
          <a:bodyPr wrap="square" lIns="135771" tIns="181027" rIns="135771" bIns="0" rtlCol="0">
            <a:noAutofit/>
          </a:bodyPr>
          <a:lstStyle/>
          <a:p>
            <a:pPr marL="0" marR="0" lvl="0" indent="0" algn="l" defTabSz="1149463" rtl="0" eaLnBrk="1" fontAlgn="auto" latinLnBrk="0" hangingPunct="1">
              <a:lnSpc>
                <a:spcPct val="100000"/>
              </a:lnSpc>
              <a:spcBef>
                <a:spcPts val="0"/>
              </a:spcBef>
              <a:spcAft>
                <a:spcPts val="0"/>
              </a:spcAft>
              <a:buClrTx/>
              <a:buSzTx/>
              <a:buFontTx/>
              <a:buNone/>
              <a:tabLst/>
              <a:defRPr/>
            </a:pPr>
            <a:r>
              <a:rPr lang="de-AT" sz="1131">
                <a:solidFill>
                  <a:srgbClr val="A3A3A3"/>
                </a:solidFill>
                <a:latin typeface="Amalia" panose="020B0504020203020204" pitchFamily="34" charset="0"/>
              </a:rPr>
              <a:t>Bitte beachten Sie die Risikohinweise und Aufklärungen am Ende des Dokuments</a:t>
            </a:r>
          </a:p>
        </p:txBody>
      </p:sp>
      <p:sp>
        <p:nvSpPr>
          <p:cNvPr id="22" name="TextBox 25">
            <a:extLst>
              <a:ext uri="{FF2B5EF4-FFF2-40B4-BE49-F238E27FC236}">
                <a16:creationId xmlns:a16="http://schemas.microsoft.com/office/drawing/2014/main" id="{08390227-FD6C-453E-9B4F-805D6C5A0DAA}"/>
              </a:ext>
            </a:extLst>
          </p:cNvPr>
          <p:cNvSpPr txBox="1"/>
          <p:nvPr userDrawn="1"/>
        </p:nvSpPr>
        <p:spPr>
          <a:xfrm>
            <a:off x="12504734" y="7001566"/>
            <a:ext cx="622896" cy="360040"/>
          </a:xfrm>
          <a:prstGeom prst="rect">
            <a:avLst/>
          </a:prstGeom>
          <a:noFill/>
          <a:ln w="9525">
            <a:noFill/>
          </a:ln>
        </p:spPr>
        <p:txBody>
          <a:bodyPr wrap="square" lIns="135771" tIns="181027" rIns="135771" bIns="0" rtlCol="0">
            <a:noAutofit/>
          </a:bodyPr>
          <a:lstStyle/>
          <a:p>
            <a:pPr algn="r" defTabSz="1204069"/>
            <a:fld id="{2EFE9AD8-4CF8-4A0A-8D8A-B8E100449A7A}" type="slidenum">
              <a:rPr lang="en-US" sz="1131" smtClean="0">
                <a:solidFill>
                  <a:srgbClr val="A3A3A3"/>
                </a:solidFill>
              </a:rPr>
              <a:pPr algn="r" defTabSz="1204069"/>
              <a:t>‹Nr.›</a:t>
            </a:fld>
            <a:endParaRPr lang="en-US" sz="1131">
              <a:solidFill>
                <a:srgbClr val="A3A3A3"/>
              </a:solidFill>
            </a:endParaRPr>
          </a:p>
        </p:txBody>
      </p:sp>
      <p:sp>
        <p:nvSpPr>
          <p:cNvPr id="25" name="Holder 4">
            <a:extLst>
              <a:ext uri="{FF2B5EF4-FFF2-40B4-BE49-F238E27FC236}">
                <a16:creationId xmlns:a16="http://schemas.microsoft.com/office/drawing/2014/main" id="{469D8425-2B1B-48C4-8CC3-6705EBF610DD}"/>
              </a:ext>
            </a:extLst>
          </p:cNvPr>
          <p:cNvSpPr txBox="1">
            <a:spLocks/>
          </p:cNvSpPr>
          <p:nvPr userDrawn="1"/>
        </p:nvSpPr>
        <p:spPr>
          <a:xfrm>
            <a:off x="641425" y="7172735"/>
            <a:ext cx="1342699" cy="233182"/>
          </a:xfrm>
          <a:prstGeom prst="rect">
            <a:avLst/>
          </a:prstGeom>
        </p:spPr>
        <p:txBody>
          <a:bodyPr lIns="0" tIns="0" rIns="0" bIns="0"/>
          <a:lstStyle>
            <a:defPPr>
              <a:defRPr lang="de-DE"/>
            </a:defPPr>
            <a:lvl1pPr marL="0" algn="l" defTabSz="914400" rtl="0" eaLnBrk="1" latinLnBrk="0" hangingPunct="1">
              <a:defRPr sz="900" b="0" i="0" kern="1200">
                <a:solidFill>
                  <a:srgbClr val="959595"/>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965">
              <a:spcBef>
                <a:spcPts val="143"/>
              </a:spcBef>
            </a:pPr>
            <a:r>
              <a:rPr lang="de-AT" sz="1131" dirty="0">
                <a:latin typeface="Amalia" panose="020B0504020203020204" pitchFamily="34" charset="0"/>
              </a:rPr>
              <a:t>Oktober 21</a:t>
            </a:r>
          </a:p>
        </p:txBody>
      </p:sp>
      <p:pic>
        <p:nvPicPr>
          <p:cNvPr id="15" name="Picture 19" descr="A close up of a sign&#10;&#10;Description automatically generated">
            <a:extLst>
              <a:ext uri="{FF2B5EF4-FFF2-40B4-BE49-F238E27FC236}">
                <a16:creationId xmlns:a16="http://schemas.microsoft.com/office/drawing/2014/main" id="{6D45D609-5951-43FD-B9C5-718811A8ACC1}"/>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1820051" y="457526"/>
            <a:ext cx="1385840" cy="416072"/>
          </a:xfrm>
          <a:prstGeom prst="rect">
            <a:avLst/>
          </a:prstGeom>
        </p:spPr>
      </p:pic>
    </p:spTree>
    <p:extLst>
      <p:ext uri="{BB962C8B-B14F-4D97-AF65-F5344CB8AC3E}">
        <p14:creationId xmlns:p14="http://schemas.microsoft.com/office/powerpoint/2010/main" val="2046676901"/>
      </p:ext>
    </p:extLst>
  </p:cSld>
  <p:clrMap bg1="lt1" tx1="dk1" bg2="lt2" tx2="dk2" accent1="accent1" accent2="accent2" accent3="accent3" accent4="accent4" accent5="accent5" accent6="accent6" hlink="hlink" folHlink="folHlink"/>
  <p:sldLayoutIdLst>
    <p:sldLayoutId id="2147483674" r:id="rId1"/>
    <p:sldLayoutId id="2147483702" r:id="rId2"/>
    <p:sldLayoutId id="2147483701" r:id="rId3"/>
    <p:sldLayoutId id="2147483675" r:id="rId4"/>
    <p:sldLayoutId id="2147483676" r:id="rId5"/>
    <p:sldLayoutId id="2147483686" r:id="rId6"/>
    <p:sldLayoutId id="2147483677" r:id="rId7"/>
    <p:sldLayoutId id="2147483678" r:id="rId8"/>
    <p:sldLayoutId id="2147483688" r:id="rId9"/>
    <p:sldLayoutId id="2147483690" r:id="rId10"/>
    <p:sldLayoutId id="2147483692" r:id="rId11"/>
    <p:sldLayoutId id="2147483693" r:id="rId12"/>
    <p:sldLayoutId id="2147483691" r:id="rId13"/>
    <p:sldLayoutId id="2147483681" r:id="rId14"/>
    <p:sldLayoutId id="2147483682" r:id="rId15"/>
    <p:sldLayoutId id="2147483695" r:id="rId16"/>
    <p:sldLayoutId id="2147483696" r:id="rId17"/>
    <p:sldLayoutId id="2147483683" r:id="rId18"/>
    <p:sldLayoutId id="2147483684" r:id="rId19"/>
    <p:sldLayoutId id="2147483699" r:id="rId20"/>
    <p:sldLayoutId id="2147483703" r:id="rId21"/>
    <p:sldLayoutId id="2147483727" r:id="rId22"/>
    <p:sldLayoutId id="2147483728" r:id="rId23"/>
    <p:sldLayoutId id="2147483730" r:id="rId24"/>
    <p:sldLayoutId id="2147483731" r:id="rId25"/>
    <p:sldLayoutId id="2147483732" r:id="rId26"/>
  </p:sldLayoutIdLst>
  <p:hf hdr="0" ftr="0"/>
  <p:txStyles>
    <p:titleStyle>
      <a:lvl1pPr algn="l" defTabSz="1008193" rtl="0" eaLnBrk="1" latinLnBrk="0" hangingPunct="1">
        <a:lnSpc>
          <a:spcPct val="90000"/>
        </a:lnSpc>
        <a:spcBef>
          <a:spcPct val="0"/>
        </a:spcBef>
        <a:buNone/>
        <a:defRPr sz="3017" b="1" kern="1200" cap="none" baseline="0">
          <a:solidFill>
            <a:schemeClr val="tx1"/>
          </a:solidFill>
          <a:latin typeface="Amalia" panose="020B0504020203020204" pitchFamily="34" charset="0"/>
          <a:ea typeface="+mj-ea"/>
          <a:cs typeface="+mj-cs"/>
        </a:defRPr>
      </a:lvl1pPr>
    </p:titleStyle>
    <p:bodyStyle>
      <a:lvl1pPr marL="0" indent="0" algn="l" defTabSz="1008193" rtl="0" eaLnBrk="1" latinLnBrk="0" hangingPunct="1">
        <a:lnSpc>
          <a:spcPct val="120000"/>
        </a:lnSpc>
        <a:spcBef>
          <a:spcPts val="0"/>
        </a:spcBef>
        <a:spcAft>
          <a:spcPts val="755"/>
        </a:spcAft>
        <a:buFont typeface="Symbol" panose="05050102010706020507" pitchFamily="18" charset="2"/>
        <a:buNone/>
        <a:defRPr sz="2011" b="1" kern="1200">
          <a:solidFill>
            <a:schemeClr val="tx1"/>
          </a:solidFill>
          <a:latin typeface="Amalia" panose="020B0504020203020204" pitchFamily="34" charset="0"/>
          <a:ea typeface="+mn-ea"/>
          <a:cs typeface="+mn-cs"/>
        </a:defRPr>
      </a:lvl1pPr>
      <a:lvl2pPr marL="0" indent="0" algn="l" defTabSz="1008193" rtl="0" eaLnBrk="1" latinLnBrk="0" hangingPunct="1">
        <a:lnSpc>
          <a:spcPct val="120000"/>
        </a:lnSpc>
        <a:spcBef>
          <a:spcPts val="0"/>
        </a:spcBef>
        <a:spcAft>
          <a:spcPts val="755"/>
        </a:spcAft>
        <a:buFont typeface="Symbol" panose="05050102010706020507" pitchFamily="18" charset="2"/>
        <a:buNone/>
        <a:defRPr sz="2011" kern="1200">
          <a:solidFill>
            <a:schemeClr val="tx1"/>
          </a:solidFill>
          <a:latin typeface="Amalia" panose="020B0504020203020204" pitchFamily="34" charset="0"/>
          <a:ea typeface="+mn-ea"/>
          <a:cs typeface="+mn-cs"/>
        </a:defRPr>
      </a:lvl2pPr>
      <a:lvl3pPr marL="226273" indent="-226273" algn="l" defTabSz="1008193" rtl="0" eaLnBrk="1" latinLnBrk="0" hangingPunct="1">
        <a:lnSpc>
          <a:spcPct val="120000"/>
        </a:lnSpc>
        <a:spcBef>
          <a:spcPts val="0"/>
        </a:spcBef>
        <a:spcAft>
          <a:spcPts val="755"/>
        </a:spcAft>
        <a:buClr>
          <a:schemeClr val="accent2"/>
        </a:buClr>
        <a:buFont typeface="Wingdings" panose="05000000000000000000" pitchFamily="2" charset="2"/>
        <a:buChar char="§"/>
        <a:defRPr sz="2011" kern="1200">
          <a:solidFill>
            <a:schemeClr val="tx1"/>
          </a:solidFill>
          <a:latin typeface="Amalia" panose="020B0504020203020204" pitchFamily="34" charset="0"/>
          <a:ea typeface="+mn-ea"/>
          <a:cs typeface="+mn-cs"/>
        </a:defRPr>
      </a:lvl3pPr>
      <a:lvl4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Amalia" panose="020B0504020203020204" pitchFamily="34" charset="0"/>
          <a:ea typeface="+mn-ea"/>
          <a:cs typeface="+mn-cs"/>
        </a:defRPr>
      </a:lvl4pPr>
      <a:lvl5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Amalia" panose="020B0504020203020204" pitchFamily="34" charset="0"/>
          <a:ea typeface="+mn-ea"/>
          <a:cs typeface="+mn-cs"/>
        </a:defRPr>
      </a:lvl5pPr>
      <a:lvl6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mn-lt"/>
          <a:ea typeface="+mn-ea"/>
          <a:cs typeface="+mn-cs"/>
        </a:defRPr>
      </a:lvl6pPr>
      <a:lvl7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mn-lt"/>
          <a:ea typeface="+mn-ea"/>
          <a:cs typeface="+mn-cs"/>
        </a:defRPr>
      </a:lvl7pPr>
      <a:lvl8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mn-lt"/>
          <a:ea typeface="+mn-ea"/>
          <a:cs typeface="+mn-cs"/>
        </a:defRPr>
      </a:lvl8pPr>
      <a:lvl9pPr marL="452545" indent="-226273" algn="l" defTabSz="1008193" rtl="0" eaLnBrk="1" latinLnBrk="0" hangingPunct="1">
        <a:lnSpc>
          <a:spcPct val="120000"/>
        </a:lnSpc>
        <a:spcBef>
          <a:spcPts val="0"/>
        </a:spcBef>
        <a:spcAft>
          <a:spcPts val="755"/>
        </a:spcAft>
        <a:buClr>
          <a:schemeClr val="accent2"/>
        </a:buClr>
        <a:buFont typeface="Symbol" panose="05050102010706020507" pitchFamily="18" charset="2"/>
        <a:buChar char=""/>
        <a:defRPr sz="2011" kern="1200">
          <a:solidFill>
            <a:schemeClr val="tx1"/>
          </a:solidFill>
          <a:latin typeface="+mn-lt"/>
          <a:ea typeface="+mn-ea"/>
          <a:cs typeface="+mn-cs"/>
        </a:defRPr>
      </a:lvl9pPr>
    </p:bodyStyle>
    <p:otherStyle>
      <a:defPPr>
        <a:defRPr lang="en-US"/>
      </a:defPPr>
      <a:lvl1pPr marL="0" algn="l" defTabSz="1008193" rtl="0" eaLnBrk="1" latinLnBrk="0" hangingPunct="1">
        <a:defRPr sz="1985" kern="1200">
          <a:solidFill>
            <a:schemeClr val="tx1"/>
          </a:solidFill>
          <a:latin typeface="+mn-lt"/>
          <a:ea typeface="+mn-ea"/>
          <a:cs typeface="+mn-cs"/>
        </a:defRPr>
      </a:lvl1pPr>
      <a:lvl2pPr marL="504098" algn="l" defTabSz="1008193" rtl="0" eaLnBrk="1" latinLnBrk="0" hangingPunct="1">
        <a:defRPr sz="1985" kern="1200">
          <a:solidFill>
            <a:schemeClr val="tx1"/>
          </a:solidFill>
          <a:latin typeface="+mn-lt"/>
          <a:ea typeface="+mn-ea"/>
          <a:cs typeface="+mn-cs"/>
        </a:defRPr>
      </a:lvl2pPr>
      <a:lvl3pPr marL="1008193" algn="l" defTabSz="1008193" rtl="0" eaLnBrk="1" latinLnBrk="0" hangingPunct="1">
        <a:defRPr sz="1985" kern="1200">
          <a:solidFill>
            <a:schemeClr val="tx1"/>
          </a:solidFill>
          <a:latin typeface="+mn-lt"/>
          <a:ea typeface="+mn-ea"/>
          <a:cs typeface="+mn-cs"/>
        </a:defRPr>
      </a:lvl3pPr>
      <a:lvl4pPr marL="1512292" algn="l" defTabSz="1008193" rtl="0" eaLnBrk="1" latinLnBrk="0" hangingPunct="1">
        <a:defRPr sz="1985" kern="1200">
          <a:solidFill>
            <a:schemeClr val="tx1"/>
          </a:solidFill>
          <a:latin typeface="+mn-lt"/>
          <a:ea typeface="+mn-ea"/>
          <a:cs typeface="+mn-cs"/>
        </a:defRPr>
      </a:lvl4pPr>
      <a:lvl5pPr marL="2016388" algn="l" defTabSz="1008193" rtl="0" eaLnBrk="1" latinLnBrk="0" hangingPunct="1">
        <a:defRPr sz="1985" kern="1200">
          <a:solidFill>
            <a:schemeClr val="tx1"/>
          </a:solidFill>
          <a:latin typeface="+mn-lt"/>
          <a:ea typeface="+mn-ea"/>
          <a:cs typeface="+mn-cs"/>
        </a:defRPr>
      </a:lvl5pPr>
      <a:lvl6pPr marL="2520488" algn="l" defTabSz="1008193" rtl="0" eaLnBrk="1" latinLnBrk="0" hangingPunct="1">
        <a:defRPr sz="1985" kern="1200">
          <a:solidFill>
            <a:schemeClr val="tx1"/>
          </a:solidFill>
          <a:latin typeface="+mn-lt"/>
          <a:ea typeface="+mn-ea"/>
          <a:cs typeface="+mn-cs"/>
        </a:defRPr>
      </a:lvl6pPr>
      <a:lvl7pPr marL="3024583" algn="l" defTabSz="1008193" rtl="0" eaLnBrk="1" latinLnBrk="0" hangingPunct="1">
        <a:defRPr sz="1985" kern="1200">
          <a:solidFill>
            <a:schemeClr val="tx1"/>
          </a:solidFill>
          <a:latin typeface="+mn-lt"/>
          <a:ea typeface="+mn-ea"/>
          <a:cs typeface="+mn-cs"/>
        </a:defRPr>
      </a:lvl7pPr>
      <a:lvl8pPr marL="3528681" algn="l" defTabSz="1008193" rtl="0" eaLnBrk="1" latinLnBrk="0" hangingPunct="1">
        <a:defRPr sz="1985" kern="1200">
          <a:solidFill>
            <a:schemeClr val="tx1"/>
          </a:solidFill>
          <a:latin typeface="+mn-lt"/>
          <a:ea typeface="+mn-ea"/>
          <a:cs typeface="+mn-cs"/>
        </a:defRPr>
      </a:lvl8pPr>
      <a:lvl9pPr marL="4032778" algn="l" defTabSz="1008193" rtl="0" eaLnBrk="1" latinLnBrk="0" hangingPunct="1">
        <a:defRPr sz="1985" kern="1200">
          <a:solidFill>
            <a:schemeClr val="tx1"/>
          </a:solidFill>
          <a:latin typeface="+mn-lt"/>
          <a:ea typeface="+mn-ea"/>
          <a:cs typeface="+mn-cs"/>
        </a:defRPr>
      </a:lvl9pPr>
    </p:otherStyle>
  </p:txStyles>
  <p:extLst>
    <p:ext uri="{27BBF7A9-308A-43DC-89C8-2F10F3537804}">
      <p15:sldGuideLst xmlns:p15="http://schemas.microsoft.com/office/powerpoint/2012/main">
        <p15:guide id="19" pos="5323" userDrawn="1">
          <p15:clr>
            <a:srgbClr val="F26B43"/>
          </p15:clr>
        </p15:guide>
        <p15:guide id="20" orient="horz" pos="2381" userDrawn="1">
          <p15:clr>
            <a:srgbClr val="F26B43"/>
          </p15:clr>
        </p15:guide>
        <p15:guide id="21" pos="503" userDrawn="1">
          <p15:clr>
            <a:srgbClr val="F26B43"/>
          </p15:clr>
        </p15:guide>
        <p15:guide id="22" pos="10144" userDrawn="1">
          <p15:clr>
            <a:srgbClr val="F26B43"/>
          </p15:clr>
        </p15:guide>
        <p15:guide id="23" pos="5575" userDrawn="1">
          <p15:clr>
            <a:srgbClr val="F26B43"/>
          </p15:clr>
        </p15:guide>
        <p15:guide id="24" pos="5071" userDrawn="1">
          <p15:clr>
            <a:srgbClr val="F26B43"/>
          </p15:clr>
        </p15:guide>
        <p15:guide id="27" orient="horz" pos="4358" userDrawn="1">
          <p15:clr>
            <a:srgbClr val="F26B43"/>
          </p15:clr>
        </p15:guide>
        <p15:guide id="28" orient="horz" pos="893" userDrawn="1">
          <p15:clr>
            <a:srgbClr val="F26B43"/>
          </p15:clr>
        </p15:guide>
        <p15:guide id="30" pos="103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xml"/><Relationship Id="rId1" Type="http://schemas.openxmlformats.org/officeDocument/2006/relationships/slideLayout" Target="../slideLayouts/slideLayout21.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http://www.raiffeisenresearch.com/sensitivity_analysis" TargetMode="External"/><Relationship Id="rId2" Type="http://schemas.openxmlformats.org/officeDocument/2006/relationships/hyperlink" Target="http://www.raiffeisenresearch.com/concept_and_methods" TargetMode="External"/><Relationship Id="rId1" Type="http://schemas.openxmlformats.org/officeDocument/2006/relationships/slideLayout" Target="../slideLayouts/slideLayout24.xml"/><Relationship Id="rId5" Type="http://schemas.openxmlformats.org/officeDocument/2006/relationships/hyperlink" Target="https://raiffeisenresearch.com/web/rbi-research-portal/recommendation_history" TargetMode="External"/><Relationship Id="rId4" Type="http://schemas.openxmlformats.org/officeDocument/2006/relationships/hyperlink" Target="http://www.raiffeisenresearch.com/disclosuresobjectivity"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hyperlink" Target="http://eur-lex.europa.eu/legal-content/EN/TXT/?&amp;uri=CELEX:32013R1024" TargetMode="External"/><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68C5090-4BD9-4512-AA23-8285F051E41E}"/>
              </a:ext>
            </a:extLst>
          </p:cNvPr>
          <p:cNvSpPr>
            <a:spLocks noGrp="1"/>
          </p:cNvSpPr>
          <p:nvPr>
            <p:ph type="ctrTitle"/>
          </p:nvPr>
        </p:nvSpPr>
        <p:spPr>
          <a:xfrm>
            <a:off x="251570" y="4854103"/>
            <a:ext cx="8158900" cy="2340459"/>
          </a:xfrm>
        </p:spPr>
        <p:txBody>
          <a:bodyPr/>
          <a:lstStyle/>
          <a:p>
            <a:r>
              <a:rPr lang="de-DE" sz="3200" dirty="0"/>
              <a:t>Finanzmärkte im Bann der Zentralbanken und Inflation</a:t>
            </a:r>
            <a:endParaRPr lang="en-US" sz="3200" dirty="0"/>
          </a:p>
        </p:txBody>
      </p:sp>
      <p:sp>
        <p:nvSpPr>
          <p:cNvPr id="5" name="Untertitel 4">
            <a:extLst>
              <a:ext uri="{FF2B5EF4-FFF2-40B4-BE49-F238E27FC236}">
                <a16:creationId xmlns:a16="http://schemas.microsoft.com/office/drawing/2014/main" id="{CCF898E3-AF73-46EA-AD8C-0DDBE0C2234D}"/>
              </a:ext>
            </a:extLst>
          </p:cNvPr>
          <p:cNvSpPr>
            <a:spLocks noGrp="1"/>
          </p:cNvSpPr>
          <p:nvPr>
            <p:ph type="subTitle" idx="1"/>
          </p:nvPr>
        </p:nvSpPr>
        <p:spPr>
          <a:xfrm>
            <a:off x="347340" y="6078071"/>
            <a:ext cx="10525255" cy="1276965"/>
          </a:xfrm>
        </p:spPr>
        <p:txBody>
          <a:bodyPr/>
          <a:lstStyle/>
          <a:p>
            <a:pPr>
              <a:spcBef>
                <a:spcPts val="1200"/>
              </a:spcBef>
            </a:pPr>
            <a:r>
              <a:rPr lang="en-US" sz="2400" dirty="0">
                <a:latin typeface="Amalia"/>
              </a:rPr>
              <a:t>Peter </a:t>
            </a:r>
            <a:r>
              <a:rPr lang="en-US" sz="2400" dirty="0" err="1">
                <a:latin typeface="Amalia"/>
              </a:rPr>
              <a:t>Brezinschek</a:t>
            </a:r>
            <a:r>
              <a:rPr lang="en-US" sz="2400" dirty="0">
                <a:latin typeface="Amalia"/>
              </a:rPr>
              <a:t>, </a:t>
            </a:r>
            <a:r>
              <a:rPr lang="en-US" sz="2400" dirty="0" err="1">
                <a:latin typeface="Amalia"/>
              </a:rPr>
              <a:t>Chefanalyst</a:t>
            </a:r>
            <a:r>
              <a:rPr lang="en-US" sz="2400" dirty="0">
                <a:latin typeface="Amalia"/>
              </a:rPr>
              <a:t> Raiffeisen Research</a:t>
            </a:r>
            <a:br>
              <a:rPr lang="en-US" sz="2000" dirty="0"/>
            </a:br>
            <a:r>
              <a:rPr lang="en-US" sz="2400" b="1" dirty="0">
                <a:latin typeface="Amalia"/>
              </a:rPr>
              <a:t>Innsbruck,</a:t>
            </a:r>
            <a:r>
              <a:rPr lang="en-US" sz="2000" b="1" dirty="0">
                <a:latin typeface="Amalia"/>
              </a:rPr>
              <a:t> </a:t>
            </a:r>
            <a:r>
              <a:rPr lang="en-US" sz="2400" b="1" dirty="0">
                <a:latin typeface="Amalia"/>
              </a:rPr>
              <a:t>14.Oktober 2021</a:t>
            </a:r>
          </a:p>
        </p:txBody>
      </p:sp>
      <p:sp>
        <p:nvSpPr>
          <p:cNvPr id="6" name="Untertitel 3">
            <a:extLst>
              <a:ext uri="{FF2B5EF4-FFF2-40B4-BE49-F238E27FC236}">
                <a16:creationId xmlns:a16="http://schemas.microsoft.com/office/drawing/2014/main" id="{7133A5C2-A851-462A-B97C-F934CE74EBA7}"/>
              </a:ext>
            </a:extLst>
          </p:cNvPr>
          <p:cNvSpPr txBox="1">
            <a:spLocks/>
          </p:cNvSpPr>
          <p:nvPr/>
        </p:nvSpPr>
        <p:spPr>
          <a:xfrm>
            <a:off x="14306625" y="1230981"/>
            <a:ext cx="273706" cy="390232"/>
          </a:xfrm>
          <a:prstGeom prst="rect">
            <a:avLst/>
          </a:prstGeom>
          <a:noFill/>
        </p:spPr>
        <p:txBody>
          <a:bodyPr vert="horz" lIns="0" tIns="0" rIns="0" bIns="0" rtlCol="0" anchor="ctr" anchorCtr="0">
            <a:noAutofit/>
          </a:bodyPr>
          <a:lstStyle>
            <a:defPPr>
              <a:defRPr lang="de-DE"/>
            </a:defPPr>
            <a:lvl1pPr algn="l" rtl="0" eaLnBrk="0" fontAlgn="base" hangingPunct="0">
              <a:spcBef>
                <a:spcPct val="0"/>
              </a:spcBef>
              <a:spcAft>
                <a:spcPct val="0"/>
              </a:spcAft>
              <a:defRPr sz="1600" kern="1200">
                <a:solidFill>
                  <a:schemeClr val="tx1"/>
                </a:solidFill>
                <a:latin typeface="Futura CE Book" pitchFamily="2" charset="0"/>
                <a:ea typeface="+mn-ea"/>
                <a:cs typeface="Arial" charset="0"/>
              </a:defRPr>
            </a:lvl1pPr>
            <a:lvl2pPr marL="457200" algn="l" rtl="0" eaLnBrk="0" fontAlgn="base" hangingPunct="0">
              <a:spcBef>
                <a:spcPct val="0"/>
              </a:spcBef>
              <a:spcAft>
                <a:spcPct val="0"/>
              </a:spcAft>
              <a:defRPr sz="1600" kern="1200">
                <a:solidFill>
                  <a:schemeClr val="tx1"/>
                </a:solidFill>
                <a:latin typeface="Futura CE Book" pitchFamily="2" charset="0"/>
                <a:ea typeface="+mn-ea"/>
                <a:cs typeface="Arial" charset="0"/>
              </a:defRPr>
            </a:lvl2pPr>
            <a:lvl3pPr marL="914400" algn="l" rtl="0" eaLnBrk="0" fontAlgn="base" hangingPunct="0">
              <a:spcBef>
                <a:spcPct val="0"/>
              </a:spcBef>
              <a:spcAft>
                <a:spcPct val="0"/>
              </a:spcAft>
              <a:defRPr sz="1600" kern="1200">
                <a:solidFill>
                  <a:schemeClr val="tx1"/>
                </a:solidFill>
                <a:latin typeface="Futura CE Book" pitchFamily="2" charset="0"/>
                <a:ea typeface="+mn-ea"/>
                <a:cs typeface="Arial" charset="0"/>
              </a:defRPr>
            </a:lvl3pPr>
            <a:lvl4pPr marL="1371600" algn="l" rtl="0" eaLnBrk="0" fontAlgn="base" hangingPunct="0">
              <a:spcBef>
                <a:spcPct val="0"/>
              </a:spcBef>
              <a:spcAft>
                <a:spcPct val="0"/>
              </a:spcAft>
              <a:defRPr sz="1600" kern="1200">
                <a:solidFill>
                  <a:schemeClr val="tx1"/>
                </a:solidFill>
                <a:latin typeface="Futura CE Book" pitchFamily="2" charset="0"/>
                <a:ea typeface="+mn-ea"/>
                <a:cs typeface="Arial" charset="0"/>
              </a:defRPr>
            </a:lvl4pPr>
            <a:lvl5pPr marL="1828800" algn="l" rtl="0" eaLnBrk="0" fontAlgn="base" hangingPunct="0">
              <a:spcBef>
                <a:spcPct val="0"/>
              </a:spcBef>
              <a:spcAft>
                <a:spcPct val="0"/>
              </a:spcAft>
              <a:defRPr sz="1600" kern="1200">
                <a:solidFill>
                  <a:schemeClr val="tx1"/>
                </a:solidFill>
                <a:latin typeface="Futura CE Book" pitchFamily="2" charset="0"/>
                <a:ea typeface="+mn-ea"/>
                <a:cs typeface="Arial" charset="0"/>
              </a:defRPr>
            </a:lvl5pPr>
            <a:lvl6pPr marL="2286000" algn="l" defTabSz="914400" rtl="0" eaLnBrk="1" latinLnBrk="0" hangingPunct="1">
              <a:defRPr sz="1600" kern="1200">
                <a:solidFill>
                  <a:schemeClr val="tx1"/>
                </a:solidFill>
                <a:latin typeface="Futura CE Book" pitchFamily="2" charset="0"/>
                <a:ea typeface="+mn-ea"/>
                <a:cs typeface="Arial" charset="0"/>
              </a:defRPr>
            </a:lvl6pPr>
            <a:lvl7pPr marL="2743200" algn="l" defTabSz="914400" rtl="0" eaLnBrk="1" latinLnBrk="0" hangingPunct="1">
              <a:defRPr sz="1600" kern="1200">
                <a:solidFill>
                  <a:schemeClr val="tx1"/>
                </a:solidFill>
                <a:latin typeface="Futura CE Book" pitchFamily="2" charset="0"/>
                <a:ea typeface="+mn-ea"/>
                <a:cs typeface="Arial" charset="0"/>
              </a:defRPr>
            </a:lvl7pPr>
            <a:lvl8pPr marL="3200400" algn="l" defTabSz="914400" rtl="0" eaLnBrk="1" latinLnBrk="0" hangingPunct="1">
              <a:defRPr sz="1600" kern="1200">
                <a:solidFill>
                  <a:schemeClr val="tx1"/>
                </a:solidFill>
                <a:latin typeface="Futura CE Book" pitchFamily="2" charset="0"/>
                <a:ea typeface="+mn-ea"/>
                <a:cs typeface="Arial" charset="0"/>
              </a:defRPr>
            </a:lvl8pPr>
            <a:lvl9pPr marL="3657600" algn="l" defTabSz="914400" rtl="0" eaLnBrk="1" latinLnBrk="0" hangingPunct="1">
              <a:defRPr sz="1600" kern="1200">
                <a:solidFill>
                  <a:schemeClr val="tx1"/>
                </a:solidFill>
                <a:latin typeface="Futura CE Book" pitchFamily="2" charset="0"/>
                <a:ea typeface="+mn-ea"/>
                <a:cs typeface="Arial" charset="0"/>
              </a:defRPr>
            </a:lvl9pPr>
          </a:lstStyle>
          <a:p>
            <a:pPr algn="r" fontAlgn="auto">
              <a:spcAft>
                <a:spcPts val="600"/>
              </a:spcAft>
            </a:pPr>
            <a:endParaRPr lang="de-AT" sz="2800" b="1"/>
          </a:p>
        </p:txBody>
      </p:sp>
      <p:sp>
        <p:nvSpPr>
          <p:cNvPr id="3" name="AutoShape 2">
            <a:extLst>
              <a:ext uri="{FF2B5EF4-FFF2-40B4-BE49-F238E27FC236}">
                <a16:creationId xmlns:a16="http://schemas.microsoft.com/office/drawing/2014/main" id="{7878FCA9-F699-4325-8928-2C5727AF3D0E}"/>
              </a:ext>
            </a:extLst>
          </p:cNvPr>
          <p:cNvSpPr>
            <a:spLocks noChangeAspect="1" noChangeArrowheads="1"/>
          </p:cNvSpPr>
          <p:nvPr/>
        </p:nvSpPr>
        <p:spPr bwMode="auto">
          <a:xfrm>
            <a:off x="6569075" y="36274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AT"/>
          </a:p>
        </p:txBody>
      </p:sp>
      <p:sp>
        <p:nvSpPr>
          <p:cNvPr id="8" name="Rectangle 7">
            <a:extLst>
              <a:ext uri="{FF2B5EF4-FFF2-40B4-BE49-F238E27FC236}">
                <a16:creationId xmlns:a16="http://schemas.microsoft.com/office/drawing/2014/main" id="{B7E2E073-2611-4584-9C5B-CC6F12695876}"/>
              </a:ext>
            </a:extLst>
          </p:cNvPr>
          <p:cNvSpPr/>
          <p:nvPr/>
        </p:nvSpPr>
        <p:spPr>
          <a:xfrm>
            <a:off x="6629122" y="3318966"/>
            <a:ext cx="184731" cy="923330"/>
          </a:xfrm>
          <a:prstGeom prst="rect">
            <a:avLst/>
          </a:prstGeom>
          <a:noFill/>
        </p:spPr>
        <p:txBody>
          <a:bodyPr wrap="none" lIns="91440" tIns="45720" rIns="91440" bIns="45720" anchor="t">
            <a:spAutoFit/>
          </a:bodyPr>
          <a:lstStyle/>
          <a:p>
            <a:pPr algn="ctr"/>
            <a:endParaRPr lang="en-US" sz="5400" b="1" cap="none" spc="0">
              <a:ln w="12700" cmpd="sng">
                <a:solidFill>
                  <a:srgbClr val="800000"/>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pic>
        <p:nvPicPr>
          <p:cNvPr id="7" name="Grafik 6">
            <a:extLst>
              <a:ext uri="{FF2B5EF4-FFF2-40B4-BE49-F238E27FC236}">
                <a16:creationId xmlns:a16="http://schemas.microsoft.com/office/drawing/2014/main" id="{B8169A8F-E532-4F24-A734-6BCDE8D073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4824" y="144925"/>
            <a:ext cx="2212531" cy="996026"/>
          </a:xfrm>
          <a:prstGeom prst="rect">
            <a:avLst/>
          </a:prstGeom>
        </p:spPr>
      </p:pic>
    </p:spTree>
    <p:extLst>
      <p:ext uri="{BB962C8B-B14F-4D97-AF65-F5344CB8AC3E}">
        <p14:creationId xmlns:p14="http://schemas.microsoft.com/office/powerpoint/2010/main" val="6177285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102FC7-508C-4C39-8042-0A8A2ADE633B}"/>
              </a:ext>
            </a:extLst>
          </p:cNvPr>
          <p:cNvSpPr>
            <a:spLocks noGrp="1"/>
          </p:cNvSpPr>
          <p:nvPr>
            <p:ph type="title"/>
          </p:nvPr>
        </p:nvSpPr>
        <p:spPr>
          <a:xfrm>
            <a:off x="624916" y="452243"/>
            <a:ext cx="10563568" cy="388536"/>
          </a:xfrm>
        </p:spPr>
        <p:txBody>
          <a:bodyPr/>
          <a:lstStyle/>
          <a:p>
            <a:br>
              <a:rPr lang="de-AT" sz="2400">
                <a:latin typeface="Amalia" panose="020B0504020203020204" pitchFamily="34" charset="0"/>
              </a:rPr>
            </a:br>
            <a:r>
              <a:rPr lang="de-AT" sz="2400"/>
              <a:t>INFLATION - </a:t>
            </a:r>
            <a:r>
              <a:rPr lang="de-DE" sz="2400"/>
              <a:t>Reales Schreckgespenst oder kurzfristiger Trend?</a:t>
            </a:r>
            <a:br>
              <a:rPr lang="de-DE" sz="2400"/>
            </a:br>
            <a:r>
              <a:rPr lang="de-DE" sz="2400" b="0">
                <a:solidFill>
                  <a:schemeClr val="bg1">
                    <a:lumMod val="50000"/>
                  </a:schemeClr>
                </a:solidFill>
              </a:rPr>
              <a:t>Kurzfristige Preistrends – Teuerung hat deutlich zugelegt</a:t>
            </a:r>
            <a:endParaRPr lang="de-AT" sz="2400" b="0">
              <a:solidFill>
                <a:schemeClr val="bg1">
                  <a:lumMod val="50000"/>
                </a:schemeClr>
              </a:solidFill>
            </a:endParaRPr>
          </a:p>
        </p:txBody>
      </p:sp>
      <p:sp>
        <p:nvSpPr>
          <p:cNvPr id="7" name="Text Placeholder 1">
            <a:extLst>
              <a:ext uri="{FF2B5EF4-FFF2-40B4-BE49-F238E27FC236}">
                <a16:creationId xmlns:a16="http://schemas.microsoft.com/office/drawing/2014/main" id="{08AC24DB-789B-462D-8BDB-CEAA196D949C}"/>
              </a:ext>
            </a:extLst>
          </p:cNvPr>
          <p:cNvSpPr txBox="1">
            <a:spLocks/>
          </p:cNvSpPr>
          <p:nvPr/>
        </p:nvSpPr>
        <p:spPr>
          <a:xfrm>
            <a:off x="574676" y="6747761"/>
            <a:ext cx="6146799" cy="440424"/>
          </a:xfrm>
          <a:prstGeom prst="rect">
            <a:avLst/>
          </a:prstGeom>
        </p:spPr>
        <p:txBody>
          <a:bodyPr/>
          <a:lstStyle>
            <a:lvl1pPr marL="3175" indent="0" algn="l" defTabSz="1043056" rtl="0" eaLnBrk="1" latinLnBrk="0" hangingPunct="1">
              <a:spcBef>
                <a:spcPts val="2053"/>
              </a:spcBef>
              <a:buFont typeface="Arial" panose="020B0604020202020204" pitchFamily="34" charset="0"/>
              <a:buNone/>
              <a:defRPr sz="2200" b="1" kern="1200">
                <a:solidFill>
                  <a:schemeClr val="tx1"/>
                </a:solidFill>
                <a:latin typeface="+mn-lt"/>
                <a:ea typeface="+mn-ea"/>
                <a:cs typeface="+mn-cs"/>
              </a:defRPr>
            </a:lvl1pPr>
            <a:lvl2pPr marL="3175" indent="0" algn="l" defTabSz="1043056" rtl="0" eaLnBrk="1" latinLnBrk="0" hangingPunct="1">
              <a:spcBef>
                <a:spcPts val="2053"/>
              </a:spcBef>
              <a:buFont typeface="Arial" panose="020B0604020202020204" pitchFamily="34" charset="0"/>
              <a:buNone/>
              <a:defRPr sz="2200" kern="1200">
                <a:solidFill>
                  <a:schemeClr val="tx1"/>
                </a:solidFill>
                <a:latin typeface="+mn-lt"/>
                <a:ea typeface="+mn-ea"/>
                <a:cs typeface="+mn-cs"/>
              </a:defRPr>
            </a:lvl2pPr>
            <a:lvl3pPr marL="2016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3pPr>
            <a:lvl4pPr marL="4032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4pPr>
            <a:lvl5pPr marL="604800" indent="-201600" algn="l" defTabSz="1043056" rtl="0" eaLnBrk="1" latinLnBrk="0" hangingPunct="1">
              <a:spcBef>
                <a:spcPts val="2053"/>
              </a:spcBef>
              <a:buFont typeface="Wingdings" panose="05000000000000000000" pitchFamily="2" charset="2"/>
              <a:buChar char="§"/>
              <a:defRPr sz="2000" kern="1200" baseline="0">
                <a:solidFill>
                  <a:schemeClr val="tx1"/>
                </a:solidFill>
                <a:latin typeface="+mn-lt"/>
                <a:ea typeface="+mn-ea"/>
                <a:cs typeface="+mn-cs"/>
              </a:defRPr>
            </a:lvl5pPr>
            <a:lvl6pPr marL="6048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6pPr>
            <a:lvl7pPr marL="6048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7pPr>
            <a:lvl8pPr marL="6048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8pPr>
            <a:lvl9pPr marL="6048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9pPr>
          </a:lstStyle>
          <a:p>
            <a:pPr marL="2880" defTabSz="946052">
              <a:spcBef>
                <a:spcPts val="0"/>
              </a:spcBef>
              <a:defRPr/>
            </a:pPr>
            <a:r>
              <a:rPr lang="en-GB" sz="1000" b="0">
                <a:solidFill>
                  <a:srgbClr val="808080">
                    <a:alpha val="100000"/>
                  </a:srgbClr>
                </a:solidFill>
                <a:latin typeface="Amalia" panose="020B0504020203020204" pitchFamily="34" charset="0"/>
                <a:cs typeface="+mj-cs"/>
              </a:rPr>
              <a:t>Quelle: Refinitiv, RBI/Raiffeisen Research</a:t>
            </a:r>
          </a:p>
        </p:txBody>
      </p:sp>
      <p:graphicFrame>
        <p:nvGraphicFramePr>
          <p:cNvPr id="8" name="Diagramm 7">
            <a:extLst>
              <a:ext uri="{FF2B5EF4-FFF2-40B4-BE49-F238E27FC236}">
                <a16:creationId xmlns:a16="http://schemas.microsoft.com/office/drawing/2014/main" id="{76CFD076-90F4-4DB8-9D27-92AEB8701F88}"/>
              </a:ext>
            </a:extLst>
          </p:cNvPr>
          <p:cNvGraphicFramePr>
            <a:graphicFrameLocks/>
          </p:cNvGraphicFramePr>
          <p:nvPr/>
        </p:nvGraphicFramePr>
        <p:xfrm>
          <a:off x="6804025" y="1286955"/>
          <a:ext cx="6146800" cy="52764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Diagramm 8">
            <a:extLst>
              <a:ext uri="{FF2B5EF4-FFF2-40B4-BE49-F238E27FC236}">
                <a16:creationId xmlns:a16="http://schemas.microsoft.com/office/drawing/2014/main" id="{F7DDE9F2-1D15-4FBD-8F1A-E54873D41969}"/>
              </a:ext>
            </a:extLst>
          </p:cNvPr>
          <p:cNvGraphicFramePr>
            <a:graphicFrameLocks/>
          </p:cNvGraphicFramePr>
          <p:nvPr/>
        </p:nvGraphicFramePr>
        <p:xfrm>
          <a:off x="315912" y="1264920"/>
          <a:ext cx="6283008" cy="516636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6933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Graphic spid="8"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102FC7-508C-4C39-8042-0A8A2ADE633B}"/>
              </a:ext>
            </a:extLst>
          </p:cNvPr>
          <p:cNvSpPr>
            <a:spLocks noGrp="1"/>
          </p:cNvSpPr>
          <p:nvPr>
            <p:ph type="title"/>
          </p:nvPr>
        </p:nvSpPr>
        <p:spPr>
          <a:xfrm>
            <a:off x="620236" y="452243"/>
            <a:ext cx="10563568" cy="388536"/>
          </a:xfrm>
        </p:spPr>
        <p:txBody>
          <a:bodyPr/>
          <a:lstStyle/>
          <a:p>
            <a:br>
              <a:rPr lang="de-AT">
                <a:latin typeface="Amalia" panose="020B0504020203020204" pitchFamily="34" charset="0"/>
              </a:rPr>
            </a:br>
            <a:r>
              <a:rPr lang="de-AT" sz="2400" dirty="0">
                <a:latin typeface="Amalia" panose="020B0504020203020204" pitchFamily="34" charset="0"/>
              </a:rPr>
              <a:t>INFLATION - </a:t>
            </a:r>
            <a:r>
              <a:rPr lang="de-DE" sz="2400" dirty="0">
                <a:latin typeface="Amalia"/>
              </a:rPr>
              <a:t>Reales Schreckgespenst oder kurzfristiger Trend?</a:t>
            </a:r>
            <a:br>
              <a:rPr lang="de-DE" sz="2400" dirty="0">
                <a:latin typeface="Amalia"/>
              </a:rPr>
            </a:br>
            <a:r>
              <a:rPr lang="de-DE" sz="2400" b="0" dirty="0">
                <a:solidFill>
                  <a:schemeClr val="bg1">
                    <a:lumMod val="50000"/>
                  </a:schemeClr>
                </a:solidFill>
                <a:latin typeface="Amalia"/>
              </a:rPr>
              <a:t>Langfristige Preistrends global und Europa</a:t>
            </a:r>
            <a:endParaRPr lang="de-AT" sz="2400" b="0" dirty="0">
              <a:solidFill>
                <a:schemeClr val="bg1">
                  <a:lumMod val="50000"/>
                </a:schemeClr>
              </a:solidFill>
              <a:latin typeface="Amalia" panose="020B0504020203020204" pitchFamily="34" charset="0"/>
            </a:endParaRPr>
          </a:p>
        </p:txBody>
      </p:sp>
      <p:graphicFrame>
        <p:nvGraphicFramePr>
          <p:cNvPr id="3" name="Chart 2">
            <a:extLst>
              <a:ext uri="{FF2B5EF4-FFF2-40B4-BE49-F238E27FC236}">
                <a16:creationId xmlns:a16="http://schemas.microsoft.com/office/drawing/2014/main" id="{6B8305D5-3795-476B-9C2A-85CD13C42014}"/>
              </a:ext>
            </a:extLst>
          </p:cNvPr>
          <p:cNvGraphicFramePr>
            <a:graphicFrameLocks/>
          </p:cNvGraphicFramePr>
          <p:nvPr/>
        </p:nvGraphicFramePr>
        <p:xfrm>
          <a:off x="7100047" y="1037429"/>
          <a:ext cx="6082553" cy="57770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27E52BAA-FD43-4F2D-9D53-FFAEF24019A8}"/>
              </a:ext>
            </a:extLst>
          </p:cNvPr>
          <p:cNvGraphicFramePr>
            <a:graphicFrameLocks/>
          </p:cNvGraphicFramePr>
          <p:nvPr/>
        </p:nvGraphicFramePr>
        <p:xfrm>
          <a:off x="584237" y="1037430"/>
          <a:ext cx="6328192" cy="577702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 Placeholder 1">
            <a:extLst>
              <a:ext uri="{FF2B5EF4-FFF2-40B4-BE49-F238E27FC236}">
                <a16:creationId xmlns:a16="http://schemas.microsoft.com/office/drawing/2014/main" id="{425248D5-23CB-448F-93B8-1452E341DE1E}"/>
              </a:ext>
            </a:extLst>
          </p:cNvPr>
          <p:cNvSpPr txBox="1">
            <a:spLocks/>
          </p:cNvSpPr>
          <p:nvPr/>
        </p:nvSpPr>
        <p:spPr>
          <a:xfrm>
            <a:off x="584237" y="6725006"/>
            <a:ext cx="6146799" cy="440424"/>
          </a:xfrm>
          <a:prstGeom prst="rect">
            <a:avLst/>
          </a:prstGeom>
        </p:spPr>
        <p:txBody>
          <a:bodyPr/>
          <a:lstStyle>
            <a:lvl1pPr marL="3175" indent="0" algn="l" defTabSz="1043056" rtl="0" eaLnBrk="1" latinLnBrk="0" hangingPunct="1">
              <a:spcBef>
                <a:spcPts val="2053"/>
              </a:spcBef>
              <a:buFont typeface="Arial" panose="020B0604020202020204" pitchFamily="34" charset="0"/>
              <a:buNone/>
              <a:defRPr sz="2200" b="1" kern="1200">
                <a:solidFill>
                  <a:schemeClr val="tx1"/>
                </a:solidFill>
                <a:latin typeface="+mn-lt"/>
                <a:ea typeface="+mn-ea"/>
                <a:cs typeface="+mn-cs"/>
              </a:defRPr>
            </a:lvl1pPr>
            <a:lvl2pPr marL="3175" indent="0" algn="l" defTabSz="1043056" rtl="0" eaLnBrk="1" latinLnBrk="0" hangingPunct="1">
              <a:spcBef>
                <a:spcPts val="2053"/>
              </a:spcBef>
              <a:buFont typeface="Arial" panose="020B0604020202020204" pitchFamily="34" charset="0"/>
              <a:buNone/>
              <a:defRPr sz="2200" kern="1200">
                <a:solidFill>
                  <a:schemeClr val="tx1"/>
                </a:solidFill>
                <a:latin typeface="+mn-lt"/>
                <a:ea typeface="+mn-ea"/>
                <a:cs typeface="+mn-cs"/>
              </a:defRPr>
            </a:lvl2pPr>
            <a:lvl3pPr marL="2016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3pPr>
            <a:lvl4pPr marL="4032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4pPr>
            <a:lvl5pPr marL="604800" indent="-201600" algn="l" defTabSz="1043056" rtl="0" eaLnBrk="1" latinLnBrk="0" hangingPunct="1">
              <a:spcBef>
                <a:spcPts val="2053"/>
              </a:spcBef>
              <a:buFont typeface="Wingdings" panose="05000000000000000000" pitchFamily="2" charset="2"/>
              <a:buChar char="§"/>
              <a:defRPr sz="2000" kern="1200" baseline="0">
                <a:solidFill>
                  <a:schemeClr val="tx1"/>
                </a:solidFill>
                <a:latin typeface="+mn-lt"/>
                <a:ea typeface="+mn-ea"/>
                <a:cs typeface="+mn-cs"/>
              </a:defRPr>
            </a:lvl5pPr>
            <a:lvl6pPr marL="6048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6pPr>
            <a:lvl7pPr marL="6048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7pPr>
            <a:lvl8pPr marL="6048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8pPr>
            <a:lvl9pPr marL="604800" indent="-201600" algn="l" defTabSz="1043056" rtl="0" eaLnBrk="1" latinLnBrk="0" hangingPunct="1">
              <a:spcBef>
                <a:spcPts val="2053"/>
              </a:spcBef>
              <a:buFont typeface="Wingdings" panose="05000000000000000000" pitchFamily="2" charset="2"/>
              <a:buChar char="§"/>
              <a:defRPr sz="2000" kern="1200">
                <a:solidFill>
                  <a:schemeClr val="tx1"/>
                </a:solidFill>
                <a:latin typeface="+mn-lt"/>
                <a:ea typeface="+mn-ea"/>
                <a:cs typeface="+mn-cs"/>
              </a:defRPr>
            </a:lvl9pPr>
          </a:lstStyle>
          <a:p>
            <a:pPr marL="2880" defTabSz="946052">
              <a:spcBef>
                <a:spcPts val="0"/>
              </a:spcBef>
              <a:defRPr/>
            </a:pPr>
            <a:r>
              <a:rPr lang="en-GB" sz="1000" b="0">
                <a:solidFill>
                  <a:srgbClr val="808080">
                    <a:alpha val="100000"/>
                  </a:srgbClr>
                </a:solidFill>
                <a:latin typeface="Amalia" panose="020B0504020203020204" pitchFamily="34" charset="0"/>
                <a:cs typeface="+mj-cs"/>
              </a:rPr>
              <a:t>Quelle: BIS, RBI/Raiffeisen Research</a:t>
            </a:r>
          </a:p>
        </p:txBody>
      </p:sp>
    </p:spTree>
    <p:extLst>
      <p:ext uri="{BB962C8B-B14F-4D97-AF65-F5344CB8AC3E}">
        <p14:creationId xmlns:p14="http://schemas.microsoft.com/office/powerpoint/2010/main" val="3266916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0-#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0-#ppt_w/2"/>
                                          </p:val>
                                        </p:tav>
                                        <p:tav tm="100000">
                                          <p:val>
                                            <p:strVal val="#ppt_x"/>
                                          </p:val>
                                        </p:tav>
                                      </p:tavLst>
                                    </p:anim>
                                    <p:anim calcmode="lin" valueType="num">
                                      <p:cBhvr additive="base">
                                        <p:cTn id="1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Graphic spid="4" grpId="0">
        <p:bldAsOne/>
      </p:bldGraphic>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102FC7-508C-4C39-8042-0A8A2ADE633B}"/>
              </a:ext>
            </a:extLst>
          </p:cNvPr>
          <p:cNvSpPr>
            <a:spLocks noGrp="1"/>
          </p:cNvSpPr>
          <p:nvPr>
            <p:ph type="title"/>
          </p:nvPr>
        </p:nvSpPr>
        <p:spPr>
          <a:xfrm>
            <a:off x="630284" y="463320"/>
            <a:ext cx="10563568" cy="388536"/>
          </a:xfrm>
        </p:spPr>
        <p:txBody>
          <a:bodyPr/>
          <a:lstStyle/>
          <a:p>
            <a:br>
              <a:rPr lang="de-AT">
                <a:latin typeface="Amalia" panose="020B0504020203020204" pitchFamily="34" charset="0"/>
              </a:rPr>
            </a:br>
            <a:r>
              <a:rPr lang="de-AT" sz="2400"/>
              <a:t>INFLATION</a:t>
            </a:r>
            <a:br>
              <a:rPr lang="de-DE" sz="2400">
                <a:latin typeface="Amalia"/>
              </a:rPr>
            </a:br>
            <a:r>
              <a:rPr lang="de-DE" sz="2400" b="0">
                <a:solidFill>
                  <a:schemeClr val="bg1">
                    <a:lumMod val="50000"/>
                  </a:schemeClr>
                </a:solidFill>
                <a:latin typeface="Amalia"/>
              </a:rPr>
              <a:t>Veränderungen bei langfristigen globalen Trends </a:t>
            </a:r>
            <a:endParaRPr lang="de-AT" sz="2400" b="0">
              <a:solidFill>
                <a:schemeClr val="bg1">
                  <a:lumMod val="50000"/>
                </a:schemeClr>
              </a:solidFill>
              <a:latin typeface="Amalia" panose="020B0504020203020204" pitchFamily="34" charset="0"/>
            </a:endParaRPr>
          </a:p>
        </p:txBody>
      </p:sp>
      <p:sp>
        <p:nvSpPr>
          <p:cNvPr id="3" name="Rectangle 2">
            <a:extLst>
              <a:ext uri="{FF2B5EF4-FFF2-40B4-BE49-F238E27FC236}">
                <a16:creationId xmlns:a16="http://schemas.microsoft.com/office/drawing/2014/main" id="{D6D24D56-4CC7-44CB-9C9A-98984B2535BC}"/>
              </a:ext>
            </a:extLst>
          </p:cNvPr>
          <p:cNvSpPr/>
          <p:nvPr/>
        </p:nvSpPr>
        <p:spPr bwMode="gray">
          <a:xfrm>
            <a:off x="639303" y="1165609"/>
            <a:ext cx="12422526" cy="5787850"/>
          </a:xfrm>
          <a:prstGeom prst="rect">
            <a:avLst/>
          </a:prstGeom>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de-AT" sz="2400" b="1">
                <a:solidFill>
                  <a:schemeClr val="tx1"/>
                </a:solidFill>
                <a:latin typeface="Amalia" panose="020B0504020203020204" pitchFamily="34" charset="0"/>
              </a:rPr>
              <a:t>Globalisierung: </a:t>
            </a:r>
            <a:r>
              <a:rPr lang="de-AT" sz="2400">
                <a:solidFill>
                  <a:schemeClr val="tx1"/>
                </a:solidFill>
                <a:latin typeface="Amalia" panose="020B0504020203020204" pitchFamily="34" charset="0"/>
              </a:rPr>
              <a:t>Preisdämpfende Globalisierungsdividende vs. politische De-Globalisierungsentscheidungen</a:t>
            </a:r>
            <a:endParaRPr lang="de-AT" sz="2400" b="1">
              <a:solidFill>
                <a:schemeClr val="tx1"/>
              </a:solidFill>
              <a:latin typeface="Amalia" panose="020B0504020203020204" pitchFamily="34" charset="0"/>
            </a:endParaRPr>
          </a:p>
          <a:p>
            <a:pPr marL="285750" indent="-285750">
              <a:buFont typeface="Arial" panose="020B0604020202020204" pitchFamily="34" charset="0"/>
              <a:buChar char="•"/>
            </a:pPr>
            <a:r>
              <a:rPr lang="de-AT" sz="2400" b="1">
                <a:solidFill>
                  <a:schemeClr val="tx1"/>
                </a:solidFill>
                <a:latin typeface="Amalia" panose="020B0504020203020204" pitchFamily="34" charset="0"/>
              </a:rPr>
              <a:t>Digitalisierung: </a:t>
            </a:r>
            <a:r>
              <a:rPr lang="de-AT" sz="2400">
                <a:solidFill>
                  <a:schemeClr val="tx1"/>
                </a:solidFill>
                <a:latin typeface="Amalia" panose="020B0504020203020204" pitchFamily="34" charset="0"/>
              </a:rPr>
              <a:t>Tendenziell preisdämpfend, aber auch gegenläufige Trends und Risiken der Monopolbildung</a:t>
            </a:r>
            <a:endParaRPr lang="de-AT" sz="2400" b="1">
              <a:solidFill>
                <a:schemeClr val="tx1"/>
              </a:solidFill>
              <a:latin typeface="Amalia" panose="020B0504020203020204" pitchFamily="34" charset="0"/>
            </a:endParaRPr>
          </a:p>
          <a:p>
            <a:pPr marL="285750" indent="-285750">
              <a:buFont typeface="Arial" panose="020B0604020202020204" pitchFamily="34" charset="0"/>
              <a:buChar char="•"/>
            </a:pPr>
            <a:r>
              <a:rPr lang="de-AT" sz="2400" b="1">
                <a:solidFill>
                  <a:schemeClr val="tx1"/>
                </a:solidFill>
                <a:latin typeface="Amalia"/>
              </a:rPr>
              <a:t>ESG als gesamtgesellschaftliches Thema: </a:t>
            </a:r>
            <a:r>
              <a:rPr lang="de-AT" sz="2400">
                <a:solidFill>
                  <a:schemeClr val="tx1"/>
                </a:solidFill>
                <a:latin typeface="Amalia"/>
              </a:rPr>
              <a:t>Produktstandards, verändertes</a:t>
            </a:r>
            <a:endParaRPr lang="de-AT" sz="2400" b="1">
              <a:solidFill>
                <a:schemeClr val="tx1"/>
              </a:solidFill>
              <a:latin typeface="Amalia"/>
            </a:endParaRPr>
          </a:p>
          <a:p>
            <a:r>
              <a:rPr lang="de-AT" sz="2400">
                <a:solidFill>
                  <a:schemeClr val="tx1"/>
                </a:solidFill>
                <a:latin typeface="Amalia"/>
              </a:rPr>
              <a:t>    Konsumverhalten oder Lieferkettengesetze eher preistreibend als –dämpfend</a:t>
            </a:r>
            <a:endParaRPr lang="de-AT" sz="2400" b="1">
              <a:solidFill>
                <a:schemeClr val="tx1"/>
              </a:solidFill>
              <a:latin typeface="Amalia" panose="020B0504020203020204" pitchFamily="34" charset="0"/>
            </a:endParaRPr>
          </a:p>
          <a:p>
            <a:pPr marL="285750" indent="-285750">
              <a:buFont typeface="Arial" panose="020B0604020202020204" pitchFamily="34" charset="0"/>
              <a:buChar char="•"/>
            </a:pPr>
            <a:r>
              <a:rPr lang="de-AT" sz="2400" b="1">
                <a:solidFill>
                  <a:schemeClr val="tx1"/>
                </a:solidFill>
                <a:latin typeface="Amalia" panose="020B0504020203020204" pitchFamily="34" charset="0"/>
              </a:rPr>
              <a:t>Klimaschutzmaßnahmen &amp; Klimapolitik: </a:t>
            </a:r>
            <a:r>
              <a:rPr lang="de-AT" sz="2400">
                <a:solidFill>
                  <a:schemeClr val="tx1"/>
                </a:solidFill>
                <a:latin typeface="Amalia" panose="020B0504020203020204" pitchFamily="34" charset="0"/>
              </a:rPr>
              <a:t>Kein Wandel ohne nachhaltige Änderungen der Kostenstrukturen</a:t>
            </a:r>
          </a:p>
          <a:p>
            <a:pPr marL="285750" indent="-285750">
              <a:buFont typeface="Arial" panose="020B0604020202020204" pitchFamily="34" charset="0"/>
              <a:buChar char="•"/>
            </a:pPr>
            <a:r>
              <a:rPr lang="de-AT" sz="2400" b="1">
                <a:solidFill>
                  <a:schemeClr val="tx1"/>
                </a:solidFill>
                <a:latin typeface="Amalia"/>
              </a:rPr>
              <a:t>Demografie: </a:t>
            </a:r>
            <a:r>
              <a:rPr lang="de-AT" sz="2400">
                <a:solidFill>
                  <a:schemeClr val="tx1"/>
                </a:solidFill>
                <a:latin typeface="Amalia"/>
              </a:rPr>
              <a:t>Auslaufen der demografischen Dividende</a:t>
            </a:r>
            <a:endParaRPr lang="de-AT" sz="2400" b="1">
              <a:solidFill>
                <a:schemeClr val="tx1"/>
              </a:solidFill>
              <a:latin typeface="Amalia" panose="020B0504020203020204" pitchFamily="34" charset="0"/>
            </a:endParaRPr>
          </a:p>
          <a:p>
            <a:pPr marL="285750" indent="-285750">
              <a:buFont typeface="Arial" panose="020B0604020202020204" pitchFamily="34" charset="0"/>
              <a:buChar char="•"/>
            </a:pPr>
            <a:r>
              <a:rPr lang="de-AT" sz="2400" b="1">
                <a:solidFill>
                  <a:schemeClr val="tx1"/>
                </a:solidFill>
                <a:latin typeface="Amalia" panose="020B0504020203020204" pitchFamily="34" charset="0"/>
              </a:rPr>
              <a:t>Monetäre Einflüsse: </a:t>
            </a:r>
            <a:r>
              <a:rPr lang="de-AT" sz="2400">
                <a:solidFill>
                  <a:schemeClr val="tx1"/>
                </a:solidFill>
                <a:latin typeface="Amalia" panose="020B0504020203020204" pitchFamily="34" charset="0"/>
              </a:rPr>
              <a:t>In Zukunft weniger Gelder in die Finanzmärkte und mehr in die Realwirtschaft</a:t>
            </a:r>
          </a:p>
          <a:p>
            <a:endParaRPr lang="de-AT" sz="2400" b="1">
              <a:solidFill>
                <a:schemeClr val="tx1"/>
              </a:solidFill>
              <a:latin typeface="Amalia"/>
            </a:endParaRPr>
          </a:p>
        </p:txBody>
      </p:sp>
    </p:spTree>
    <p:extLst>
      <p:ext uri="{BB962C8B-B14F-4D97-AF65-F5344CB8AC3E}">
        <p14:creationId xmlns:p14="http://schemas.microsoft.com/office/powerpoint/2010/main" val="3457323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3A166B-04B7-465B-A560-4E94F481229E}"/>
              </a:ext>
            </a:extLst>
          </p:cNvPr>
          <p:cNvSpPr>
            <a:spLocks noGrp="1"/>
          </p:cNvSpPr>
          <p:nvPr>
            <p:ph type="title"/>
          </p:nvPr>
        </p:nvSpPr>
        <p:spPr/>
        <p:txBody>
          <a:bodyPr/>
          <a:lstStyle/>
          <a:p>
            <a:r>
              <a:rPr lang="de-DE" sz="2400"/>
              <a:t>GELDPOLITIK US-FEDERAL RESERVE</a:t>
            </a:r>
            <a:br>
              <a:rPr lang="de-DE" sz="2400" b="0">
                <a:solidFill>
                  <a:schemeClr val="bg1">
                    <a:lumMod val="50000"/>
                  </a:schemeClr>
                </a:solidFill>
              </a:rPr>
            </a:br>
            <a:r>
              <a:rPr lang="de-DE" sz="2400" b="0">
                <a:solidFill>
                  <a:schemeClr val="bg1">
                    <a:lumMod val="50000"/>
                  </a:schemeClr>
                </a:solidFill>
              </a:rPr>
              <a:t>Normalisierung so rasch wie möglich!</a:t>
            </a:r>
            <a:endParaRPr lang="de-DE" sz="2400"/>
          </a:p>
        </p:txBody>
      </p:sp>
      <p:sp>
        <p:nvSpPr>
          <p:cNvPr id="5" name="AutoShape 2">
            <a:extLst>
              <a:ext uri="{FF2B5EF4-FFF2-40B4-BE49-F238E27FC236}">
                <a16:creationId xmlns:a16="http://schemas.microsoft.com/office/drawing/2014/main" id="{A02B558E-C1A9-41E4-96B9-2A5CE9D882E4}"/>
              </a:ext>
            </a:extLst>
          </p:cNvPr>
          <p:cNvSpPr>
            <a:spLocks noChangeAspect="1" noChangeArrowheads="1"/>
          </p:cNvSpPr>
          <p:nvPr/>
        </p:nvSpPr>
        <p:spPr bwMode="auto">
          <a:xfrm>
            <a:off x="6569075" y="36274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10" name="Picture 9">
            <a:extLst>
              <a:ext uri="{FF2B5EF4-FFF2-40B4-BE49-F238E27FC236}">
                <a16:creationId xmlns:a16="http://schemas.microsoft.com/office/drawing/2014/main" id="{502D96F4-FE7B-4E1F-82DA-7800F02A7710}"/>
              </a:ext>
            </a:extLst>
          </p:cNvPr>
          <p:cNvPicPr>
            <a:picLocks noChangeAspect="1"/>
          </p:cNvPicPr>
          <p:nvPr/>
        </p:nvPicPr>
        <p:blipFill rotWithShape="1">
          <a:blip r:embed="rId2"/>
          <a:srcRect l="-542" t="488" r="542" b="11851"/>
          <a:stretch/>
        </p:blipFill>
        <p:spPr>
          <a:xfrm>
            <a:off x="572989" y="1114989"/>
            <a:ext cx="12567684" cy="5899577"/>
          </a:xfrm>
          <a:prstGeom prst="rect">
            <a:avLst/>
          </a:prstGeom>
        </p:spPr>
      </p:pic>
    </p:spTree>
    <p:extLst>
      <p:ext uri="{BB962C8B-B14F-4D97-AF65-F5344CB8AC3E}">
        <p14:creationId xmlns:p14="http://schemas.microsoft.com/office/powerpoint/2010/main" val="4105581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B4B0B2-7EBA-473D-839F-A98402B4CF98}"/>
              </a:ext>
            </a:extLst>
          </p:cNvPr>
          <p:cNvSpPr>
            <a:spLocks noGrp="1"/>
          </p:cNvSpPr>
          <p:nvPr>
            <p:ph type="title"/>
          </p:nvPr>
        </p:nvSpPr>
        <p:spPr>
          <a:xfrm>
            <a:off x="634629" y="460410"/>
            <a:ext cx="10546210" cy="374634"/>
          </a:xfrm>
        </p:spPr>
        <p:txBody>
          <a:bodyPr/>
          <a:lstStyle/>
          <a:p>
            <a:r>
              <a:rPr lang="de-DE" sz="2400"/>
              <a:t>GELDPOLITIK EZB</a:t>
            </a:r>
            <a:br>
              <a:rPr lang="de-DE" sz="2400" b="0">
                <a:solidFill>
                  <a:schemeClr val="bg1">
                    <a:lumMod val="50000"/>
                  </a:schemeClr>
                </a:solidFill>
              </a:rPr>
            </a:br>
            <a:r>
              <a:rPr lang="de-DE" sz="2400" b="0">
                <a:solidFill>
                  <a:schemeClr val="bg1">
                    <a:lumMod val="50000"/>
                  </a:schemeClr>
                </a:solidFill>
              </a:rPr>
              <a:t>Negativzinsen so lange wie möglich!</a:t>
            </a:r>
            <a:endParaRPr lang="de-DE" sz="2400"/>
          </a:p>
        </p:txBody>
      </p:sp>
      <p:pic>
        <p:nvPicPr>
          <p:cNvPr id="4" name="Grafik 3">
            <a:extLst>
              <a:ext uri="{FF2B5EF4-FFF2-40B4-BE49-F238E27FC236}">
                <a16:creationId xmlns:a16="http://schemas.microsoft.com/office/drawing/2014/main" id="{C0CE5E9B-245D-4A36-8B98-C3F8FC523390}"/>
              </a:ext>
            </a:extLst>
          </p:cNvPr>
          <p:cNvPicPr>
            <a:picLocks noChangeAspect="1"/>
          </p:cNvPicPr>
          <p:nvPr/>
        </p:nvPicPr>
        <p:blipFill rotWithShape="1">
          <a:blip r:embed="rId2"/>
          <a:srcRect b="21658"/>
          <a:stretch/>
        </p:blipFill>
        <p:spPr>
          <a:xfrm>
            <a:off x="634629" y="1125415"/>
            <a:ext cx="12507213" cy="5858189"/>
          </a:xfrm>
          <a:prstGeom prst="rect">
            <a:avLst/>
          </a:prstGeom>
        </p:spPr>
      </p:pic>
    </p:spTree>
    <p:extLst>
      <p:ext uri="{BB962C8B-B14F-4D97-AF65-F5344CB8AC3E}">
        <p14:creationId xmlns:p14="http://schemas.microsoft.com/office/powerpoint/2010/main" val="384951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10F2A-DF6F-4DE3-8F8D-A2B695862B81}"/>
              </a:ext>
            </a:extLst>
          </p:cNvPr>
          <p:cNvSpPr>
            <a:spLocks noGrp="1"/>
          </p:cNvSpPr>
          <p:nvPr>
            <p:ph type="title"/>
          </p:nvPr>
        </p:nvSpPr>
        <p:spPr/>
        <p:txBody>
          <a:bodyPr/>
          <a:lstStyle/>
          <a:p>
            <a:r>
              <a:rPr lang="de-AT" sz="2400">
                <a:latin typeface="Amalia" panose="020B0504020203020204" pitchFamily="34" charset="0"/>
              </a:rPr>
              <a:t>INFLATION</a:t>
            </a:r>
            <a:br>
              <a:rPr lang="de-DE" sz="2400">
                <a:latin typeface="Amalia" panose="020B0504020203020204" pitchFamily="34" charset="0"/>
              </a:rPr>
            </a:br>
            <a:r>
              <a:rPr lang="de-DE" sz="2400" b="0">
                <a:solidFill>
                  <a:schemeClr val="bg1">
                    <a:lumMod val="50000"/>
                  </a:schemeClr>
                </a:solidFill>
                <a:latin typeface="Amalia" panose="020B0504020203020204" pitchFamily="34" charset="0"/>
              </a:rPr>
              <a:t>Inflationsängste bei deutschen Bundesanleihen nicht erkennbar</a:t>
            </a:r>
            <a:endParaRPr lang="de-AT" sz="2400" b="0">
              <a:solidFill>
                <a:schemeClr val="bg1">
                  <a:lumMod val="50000"/>
                </a:schemeClr>
              </a:solidFill>
              <a:latin typeface="Amalia" panose="020B0504020203020204" pitchFamily="34" charset="0"/>
            </a:endParaRPr>
          </a:p>
        </p:txBody>
      </p:sp>
      <p:pic>
        <p:nvPicPr>
          <p:cNvPr id="5" name="Picture 4">
            <a:extLst>
              <a:ext uri="{FF2B5EF4-FFF2-40B4-BE49-F238E27FC236}">
                <a16:creationId xmlns:a16="http://schemas.microsoft.com/office/drawing/2014/main" id="{38272E20-53EC-455E-B2D1-CECAD82CCB85}"/>
              </a:ext>
            </a:extLst>
          </p:cNvPr>
          <p:cNvPicPr>
            <a:picLocks noChangeAspect="1"/>
          </p:cNvPicPr>
          <p:nvPr/>
        </p:nvPicPr>
        <p:blipFill>
          <a:blip r:embed="rId3"/>
          <a:stretch>
            <a:fillRect/>
          </a:stretch>
        </p:blipFill>
        <p:spPr>
          <a:xfrm>
            <a:off x="645512" y="1109852"/>
            <a:ext cx="12471048" cy="5905700"/>
          </a:xfrm>
          <a:prstGeom prst="rect">
            <a:avLst/>
          </a:prstGeom>
        </p:spPr>
      </p:pic>
      <p:cxnSp>
        <p:nvCxnSpPr>
          <p:cNvPr id="4" name="Gerader Verbinder 3">
            <a:extLst>
              <a:ext uri="{FF2B5EF4-FFF2-40B4-BE49-F238E27FC236}">
                <a16:creationId xmlns:a16="http://schemas.microsoft.com/office/drawing/2014/main" id="{49752EA8-AFAF-435C-BB5A-D761C5F37FB4}"/>
              </a:ext>
            </a:extLst>
          </p:cNvPr>
          <p:cNvCxnSpPr>
            <a:cxnSpLocks/>
          </p:cNvCxnSpPr>
          <p:nvPr/>
        </p:nvCxnSpPr>
        <p:spPr bwMode="gray">
          <a:xfrm flipH="1">
            <a:off x="655673" y="5866427"/>
            <a:ext cx="12176407" cy="0"/>
          </a:xfrm>
          <a:prstGeom prst="line">
            <a:avLst/>
          </a:prstGeom>
          <a:ln w="2857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157011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A4A15-68FC-485D-A6AB-D657FFC4998A}"/>
              </a:ext>
            </a:extLst>
          </p:cNvPr>
          <p:cNvSpPr>
            <a:spLocks noGrp="1"/>
          </p:cNvSpPr>
          <p:nvPr>
            <p:ph type="title"/>
          </p:nvPr>
        </p:nvSpPr>
        <p:spPr/>
        <p:txBody>
          <a:bodyPr/>
          <a:lstStyle/>
          <a:p>
            <a:r>
              <a:rPr lang="de-DE" sz="2400" dirty="0">
                <a:latin typeface="Amalia" panose="020B0504020203020204" pitchFamily="34" charset="0"/>
              </a:rPr>
              <a:t>RENTENMÄRKTE MIT MARGINALER RENDITE</a:t>
            </a:r>
            <a:br>
              <a:rPr lang="de-DE" sz="2400" dirty="0">
                <a:latin typeface="Amalia" panose="020B0504020203020204" pitchFamily="34" charset="0"/>
              </a:rPr>
            </a:br>
            <a:r>
              <a:rPr lang="de-DE" sz="2400" b="0" dirty="0">
                <a:solidFill>
                  <a:schemeClr val="bg1">
                    <a:lumMod val="50000"/>
                  </a:schemeClr>
                </a:solidFill>
                <a:latin typeface="Amalia" panose="020B0504020203020204" pitchFamily="34" charset="0"/>
              </a:rPr>
              <a:t>Großteils unter der Inflationsrate</a:t>
            </a:r>
            <a:endParaRPr lang="de-AT" sz="2400" b="0" dirty="0">
              <a:solidFill>
                <a:schemeClr val="bg1">
                  <a:lumMod val="50000"/>
                </a:schemeClr>
              </a:solidFill>
              <a:latin typeface="Amalia" panose="020B0504020203020204" pitchFamily="34" charset="0"/>
            </a:endParaRPr>
          </a:p>
        </p:txBody>
      </p:sp>
      <p:graphicFrame>
        <p:nvGraphicFramePr>
          <p:cNvPr id="4" name="Tabelle 3">
            <a:extLst>
              <a:ext uri="{FF2B5EF4-FFF2-40B4-BE49-F238E27FC236}">
                <a16:creationId xmlns:a16="http://schemas.microsoft.com/office/drawing/2014/main" id="{66D9F731-F783-467B-B164-36EC13E9BA04}"/>
              </a:ext>
            </a:extLst>
          </p:cNvPr>
          <p:cNvGraphicFramePr>
            <a:graphicFrameLocks noGrp="1"/>
          </p:cNvGraphicFramePr>
          <p:nvPr>
            <p:extLst>
              <p:ext uri="{D42A27DB-BD31-4B8C-83A1-F6EECF244321}">
                <p14:modId xmlns:p14="http://schemas.microsoft.com/office/powerpoint/2010/main" val="547844406"/>
              </p:ext>
            </p:extLst>
          </p:nvPr>
        </p:nvGraphicFramePr>
        <p:xfrm>
          <a:off x="626855" y="1202345"/>
          <a:ext cx="12466320" cy="4649814"/>
        </p:xfrm>
        <a:graphic>
          <a:graphicData uri="http://schemas.openxmlformats.org/drawingml/2006/table">
            <a:tbl>
              <a:tblPr firstRow="1" firstCol="1" bandRow="1">
                <a:tableStyleId>{5FD0F851-EC5A-4D38-B0AD-8093EC10F338}</a:tableStyleId>
              </a:tblPr>
              <a:tblGrid>
                <a:gridCol w="4468119">
                  <a:extLst>
                    <a:ext uri="{9D8B030D-6E8A-4147-A177-3AD203B41FA5}">
                      <a16:colId xmlns:a16="http://schemas.microsoft.com/office/drawing/2014/main" val="4285655995"/>
                    </a:ext>
                  </a:extLst>
                </a:gridCol>
                <a:gridCol w="736722">
                  <a:extLst>
                    <a:ext uri="{9D8B030D-6E8A-4147-A177-3AD203B41FA5}">
                      <a16:colId xmlns:a16="http://schemas.microsoft.com/office/drawing/2014/main" val="1495934276"/>
                    </a:ext>
                  </a:extLst>
                </a:gridCol>
                <a:gridCol w="2594247">
                  <a:extLst>
                    <a:ext uri="{9D8B030D-6E8A-4147-A177-3AD203B41FA5}">
                      <a16:colId xmlns:a16="http://schemas.microsoft.com/office/drawing/2014/main" val="769340387"/>
                    </a:ext>
                  </a:extLst>
                </a:gridCol>
                <a:gridCol w="2634906">
                  <a:extLst>
                    <a:ext uri="{9D8B030D-6E8A-4147-A177-3AD203B41FA5}">
                      <a16:colId xmlns:a16="http://schemas.microsoft.com/office/drawing/2014/main" val="2322570360"/>
                    </a:ext>
                  </a:extLst>
                </a:gridCol>
                <a:gridCol w="2032326">
                  <a:extLst>
                    <a:ext uri="{9D8B030D-6E8A-4147-A177-3AD203B41FA5}">
                      <a16:colId xmlns:a16="http://schemas.microsoft.com/office/drawing/2014/main" val="138073010"/>
                    </a:ext>
                  </a:extLst>
                </a:gridCol>
              </a:tblGrid>
              <a:tr h="758910">
                <a:tc>
                  <a:txBody>
                    <a:bodyPr/>
                    <a:lstStyle/>
                    <a:p>
                      <a:pPr algn="l" rtl="0" fontAlgn="b"/>
                      <a:r>
                        <a:rPr lang="de-DE" sz="2400" u="none" strike="noStrike">
                          <a:effectLst/>
                          <a:latin typeface="Amalia" panose="020B0504020203020204" pitchFamily="34" charset="0"/>
                        </a:rPr>
                        <a:t>Anleihen</a:t>
                      </a:r>
                      <a:endParaRPr lang="de-DE" sz="2400" b="0" i="0" u="none" strike="noStrike">
                        <a:solidFill>
                          <a:srgbClr val="FFFFFF"/>
                        </a:solidFill>
                        <a:effectLst/>
                        <a:latin typeface="Amalia" panose="020B0504020203020204" pitchFamily="34" charset="0"/>
                      </a:endParaRPr>
                    </a:p>
                  </a:txBody>
                  <a:tcPr marL="86214" marR="86214" marT="43107" marB="43107" anchor="ctr"/>
                </a:tc>
                <a:tc>
                  <a:txBody>
                    <a:bodyPr/>
                    <a:lstStyle/>
                    <a:p>
                      <a:pPr algn="r" rtl="0" fontAlgn="b"/>
                      <a:endParaRPr lang="de-DE" sz="2400" b="0" i="0" u="none" strike="noStrike">
                        <a:solidFill>
                          <a:srgbClr val="FFFFFF"/>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a:effectLst/>
                          <a:latin typeface="Amalia" panose="020B0504020203020204" pitchFamily="34" charset="0"/>
                        </a:rPr>
                        <a:t>05. Feb. 2018</a:t>
                      </a:r>
                      <a:endParaRPr lang="de-DE" sz="2400" b="0" i="0" u="none" strike="noStrike">
                        <a:solidFill>
                          <a:srgbClr val="FFFFFF"/>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a:effectLst/>
                          <a:highlight>
                            <a:srgbClr val="FFFFFF"/>
                          </a:highlight>
                          <a:latin typeface="Amalia" panose="020B0504020203020204" pitchFamily="34" charset="0"/>
                        </a:rPr>
                        <a:t>08. Okt. </a:t>
                      </a:r>
                      <a:r>
                        <a:rPr lang="de-DE" sz="2400" u="none" strike="noStrike">
                          <a:effectLst/>
                          <a:latin typeface="Amalia" panose="020B0504020203020204" pitchFamily="34" charset="0"/>
                        </a:rPr>
                        <a:t>2021</a:t>
                      </a:r>
                      <a:endParaRPr lang="de-DE" sz="2400" b="0" i="0" u="none" strike="noStrike">
                        <a:solidFill>
                          <a:srgbClr val="FFFFFF"/>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a:effectLst/>
                          <a:latin typeface="Amalia" panose="020B0504020203020204" pitchFamily="34" charset="0"/>
                        </a:rPr>
                        <a:t>Differenz</a:t>
                      </a:r>
                      <a:endParaRPr lang="de-DE" sz="2400" b="1" i="0" u="none" strike="noStrike">
                        <a:solidFill>
                          <a:srgbClr val="002060"/>
                        </a:solidFill>
                        <a:effectLst/>
                        <a:latin typeface="Amalia" panose="020B0504020203020204" pitchFamily="34" charset="0"/>
                      </a:endParaRPr>
                    </a:p>
                  </a:txBody>
                  <a:tcPr marL="86214" marR="86214" marT="43107" marB="43107" anchor="ctr"/>
                </a:tc>
                <a:extLst>
                  <a:ext uri="{0D108BD9-81ED-4DB2-BD59-A6C34878D82A}">
                    <a16:rowId xmlns:a16="http://schemas.microsoft.com/office/drawing/2014/main" val="3856152928"/>
                  </a:ext>
                </a:extLst>
              </a:tr>
              <a:tr h="793292">
                <a:tc>
                  <a:txBody>
                    <a:bodyPr/>
                    <a:lstStyle/>
                    <a:p>
                      <a:pPr algn="l" rtl="0" fontAlgn="b"/>
                      <a:r>
                        <a:rPr lang="de-DE" sz="2400" u="none" strike="noStrike">
                          <a:effectLst/>
                          <a:latin typeface="Amalia" panose="020B0504020203020204" pitchFamily="34" charset="0"/>
                        </a:rPr>
                        <a:t>10j Staatsanleihen Ö</a:t>
                      </a:r>
                      <a:endParaRPr lang="de-DE" sz="2400" b="1" i="0" u="none" strike="noStrike">
                        <a:solidFill>
                          <a:srgbClr val="FF0000"/>
                        </a:solidFill>
                        <a:effectLst/>
                        <a:latin typeface="Amalia" panose="020B0504020203020204" pitchFamily="34" charset="0"/>
                      </a:endParaRPr>
                    </a:p>
                  </a:txBody>
                  <a:tcPr marL="86214" marR="86214" marT="43107" marB="43107" anchor="ctr"/>
                </a:tc>
                <a:tc>
                  <a:txBody>
                    <a:bodyPr/>
                    <a:lstStyle/>
                    <a:p>
                      <a:pPr algn="r" rtl="0" fontAlgn="b"/>
                      <a:endParaRPr lang="de-DE" sz="2400" b="1" i="0" u="none" strike="noStrike">
                        <a:solidFill>
                          <a:srgbClr val="FF0000"/>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a:effectLst/>
                          <a:latin typeface="Amalia" panose="020B0504020203020204" pitchFamily="34" charset="0"/>
                        </a:rPr>
                        <a:t>0,82</a:t>
                      </a:r>
                      <a:endParaRPr lang="de-DE" sz="2400" b="1" i="0" u="none" strike="noStrike">
                        <a:solidFill>
                          <a:srgbClr val="FF0000"/>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a:effectLst/>
                          <a:latin typeface="Amalia" panose="020B0504020203020204" pitchFamily="34" charset="0"/>
                        </a:rPr>
                        <a:t>0,08</a:t>
                      </a:r>
                      <a:endParaRPr lang="de-DE" sz="2400" b="1" i="0" u="none" strike="noStrike">
                        <a:solidFill>
                          <a:srgbClr val="FF0000"/>
                        </a:solidFill>
                        <a:effectLst/>
                        <a:latin typeface="Amalia" panose="020B0504020203020204" pitchFamily="34" charset="0"/>
                      </a:endParaRPr>
                    </a:p>
                  </a:txBody>
                  <a:tcPr marL="86214" marR="86214" marT="43107" marB="43107" anchor="ctr"/>
                </a:tc>
                <a:tc>
                  <a:txBody>
                    <a:bodyPr/>
                    <a:lstStyle/>
                    <a:p>
                      <a:pPr algn="r" rtl="0" fontAlgn="b"/>
                      <a:r>
                        <a:rPr lang="de-DE" sz="2400" b="1" i="0" u="none" strike="noStrike">
                          <a:solidFill>
                            <a:srgbClr val="00B050"/>
                          </a:solidFill>
                          <a:effectLst/>
                          <a:latin typeface="Amalia" panose="020B0504020203020204" pitchFamily="34" charset="0"/>
                        </a:rPr>
                        <a:t>-0,74</a:t>
                      </a:r>
                    </a:p>
                  </a:txBody>
                  <a:tcPr marL="86214" marR="86214" marT="43107" marB="43107" anchor="ctr"/>
                </a:tc>
                <a:extLst>
                  <a:ext uri="{0D108BD9-81ED-4DB2-BD59-A6C34878D82A}">
                    <a16:rowId xmlns:a16="http://schemas.microsoft.com/office/drawing/2014/main" val="2146078735"/>
                  </a:ext>
                </a:extLst>
              </a:tr>
              <a:tr h="774403">
                <a:tc>
                  <a:txBody>
                    <a:bodyPr/>
                    <a:lstStyle/>
                    <a:p>
                      <a:pPr algn="l" rtl="0" fontAlgn="b"/>
                      <a:r>
                        <a:rPr lang="de-DE" sz="2400" u="none" strike="noStrike">
                          <a:effectLst/>
                          <a:latin typeface="Amalia" panose="020B0504020203020204" pitchFamily="34" charset="0"/>
                        </a:rPr>
                        <a:t>5j Staatsanleihen Ö</a:t>
                      </a:r>
                      <a:endParaRPr lang="de-DE" sz="2400" b="0" i="0" u="none" strike="noStrike">
                        <a:solidFill>
                          <a:srgbClr val="000000"/>
                        </a:solidFill>
                        <a:effectLst/>
                        <a:latin typeface="Amalia" panose="020B0504020203020204" pitchFamily="34" charset="0"/>
                      </a:endParaRPr>
                    </a:p>
                  </a:txBody>
                  <a:tcPr marL="86214" marR="86214" marT="43107" marB="43107" anchor="ctr"/>
                </a:tc>
                <a:tc>
                  <a:txBody>
                    <a:bodyPr/>
                    <a:lstStyle/>
                    <a:p>
                      <a:pPr algn="r" rtl="0" fontAlgn="b"/>
                      <a:endParaRPr lang="de-DE" sz="2400" b="0" i="0" u="none" strike="noStrike">
                        <a:solidFill>
                          <a:srgbClr val="000000"/>
                        </a:solidFill>
                        <a:effectLst/>
                        <a:latin typeface="Amalia" panose="020B0504020203020204" pitchFamily="34" charset="0"/>
                      </a:endParaRPr>
                    </a:p>
                  </a:txBody>
                  <a:tcPr marL="86214" marR="86214" marT="43107" marB="43107" anchor="ctr"/>
                </a:tc>
                <a:tc>
                  <a:txBody>
                    <a:bodyPr/>
                    <a:lstStyle/>
                    <a:p>
                      <a:pPr algn="r" rtl="0" fontAlgn="b"/>
                      <a:r>
                        <a:rPr lang="de-DE" sz="2400" b="0" i="0" u="none" strike="noStrike">
                          <a:solidFill>
                            <a:srgbClr val="000000"/>
                          </a:solidFill>
                          <a:effectLst/>
                          <a:latin typeface="Amalia" panose="020B0504020203020204" pitchFamily="34" charset="0"/>
                        </a:rPr>
                        <a:t>0,10</a:t>
                      </a:r>
                    </a:p>
                  </a:txBody>
                  <a:tcPr marL="86214" marR="86214" marT="43107" marB="43107" anchor="ctr"/>
                </a:tc>
                <a:tc>
                  <a:txBody>
                    <a:bodyPr/>
                    <a:lstStyle/>
                    <a:p>
                      <a:pPr algn="r" rtl="0" fontAlgn="b"/>
                      <a:r>
                        <a:rPr lang="de-DE" sz="2400" b="0" i="0" u="none" strike="noStrike">
                          <a:solidFill>
                            <a:srgbClr val="000000"/>
                          </a:solidFill>
                          <a:effectLst/>
                          <a:latin typeface="Amalia" panose="020B0504020203020204" pitchFamily="34" charset="0"/>
                        </a:rPr>
                        <a:t>-0,42</a:t>
                      </a:r>
                    </a:p>
                  </a:txBody>
                  <a:tcPr marL="86214" marR="86214" marT="43107" marB="43107" anchor="ctr"/>
                </a:tc>
                <a:tc>
                  <a:txBody>
                    <a:bodyPr/>
                    <a:lstStyle/>
                    <a:p>
                      <a:pPr algn="r" rtl="0" fontAlgn="b"/>
                      <a:r>
                        <a:rPr lang="de-DE" sz="2400" b="1" i="0" u="none" strike="noStrike">
                          <a:solidFill>
                            <a:srgbClr val="00B050"/>
                          </a:solidFill>
                          <a:effectLst/>
                          <a:latin typeface="Amalia" panose="020B0504020203020204" pitchFamily="34" charset="0"/>
                        </a:rPr>
                        <a:t>-0,52</a:t>
                      </a:r>
                    </a:p>
                  </a:txBody>
                  <a:tcPr marL="86214" marR="86214" marT="43107" marB="43107" anchor="ctr"/>
                </a:tc>
                <a:extLst>
                  <a:ext uri="{0D108BD9-81ED-4DB2-BD59-A6C34878D82A}">
                    <a16:rowId xmlns:a16="http://schemas.microsoft.com/office/drawing/2014/main" val="712574164"/>
                  </a:ext>
                </a:extLst>
              </a:tr>
              <a:tr h="774403">
                <a:tc>
                  <a:txBody>
                    <a:bodyPr/>
                    <a:lstStyle/>
                    <a:p>
                      <a:pPr algn="l" rtl="0" fontAlgn="b"/>
                      <a:r>
                        <a:rPr lang="de-DE" sz="2400" u="none" strike="noStrike">
                          <a:solidFill>
                            <a:schemeClr val="accent3">
                              <a:lumMod val="75000"/>
                            </a:schemeClr>
                          </a:solidFill>
                          <a:effectLst/>
                          <a:latin typeface="Amalia" panose="020B0504020203020204" pitchFamily="34" charset="0"/>
                        </a:rPr>
                        <a:t>IG Unternehmensanleihen</a:t>
                      </a:r>
                      <a:endParaRPr lang="de-DE" sz="2400" b="0" i="0" u="none" strike="noStrike">
                        <a:solidFill>
                          <a:schemeClr val="accent3">
                            <a:lumMod val="75000"/>
                          </a:schemeClr>
                        </a:solidFill>
                        <a:effectLst/>
                        <a:latin typeface="Amalia" panose="020B0504020203020204" pitchFamily="34" charset="0"/>
                      </a:endParaRPr>
                    </a:p>
                  </a:txBody>
                  <a:tcPr marL="86214" marR="86214" marT="43107" marB="43107" anchor="ctr"/>
                </a:tc>
                <a:tc>
                  <a:txBody>
                    <a:bodyPr/>
                    <a:lstStyle/>
                    <a:p>
                      <a:pPr algn="r" rtl="0" fontAlgn="b"/>
                      <a:endParaRPr lang="de-DE" sz="2400" b="0" i="0" u="none" strike="noStrike">
                        <a:solidFill>
                          <a:srgbClr val="000000"/>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dirty="0">
                          <a:effectLst/>
                          <a:latin typeface="Amalia" panose="020B0504020203020204" pitchFamily="34" charset="0"/>
                        </a:rPr>
                        <a:t>0,88</a:t>
                      </a:r>
                      <a:endParaRPr lang="de-DE" sz="2400" b="0" i="0" u="none" strike="noStrike" dirty="0">
                        <a:solidFill>
                          <a:srgbClr val="000000"/>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a:effectLst/>
                          <a:latin typeface="Amalia" panose="020B0504020203020204" pitchFamily="34" charset="0"/>
                        </a:rPr>
                        <a:t>0,40</a:t>
                      </a:r>
                      <a:endParaRPr lang="de-DE" sz="2400" b="0" i="0" u="none" strike="noStrike">
                        <a:solidFill>
                          <a:srgbClr val="000000"/>
                        </a:solidFill>
                        <a:effectLst/>
                        <a:latin typeface="Amalia" panose="020B0504020203020204" pitchFamily="34" charset="0"/>
                      </a:endParaRPr>
                    </a:p>
                  </a:txBody>
                  <a:tcPr marL="86214" marR="86214" marT="43107" marB="43107" anchor="ctr"/>
                </a:tc>
                <a:tc>
                  <a:txBody>
                    <a:bodyPr/>
                    <a:lstStyle/>
                    <a:p>
                      <a:pPr algn="r" rtl="0" fontAlgn="b"/>
                      <a:r>
                        <a:rPr lang="de-DE" sz="2400" b="1" i="0" u="none" strike="noStrike">
                          <a:solidFill>
                            <a:srgbClr val="00B050"/>
                          </a:solidFill>
                          <a:effectLst/>
                          <a:latin typeface="Amalia" panose="020B0504020203020204" pitchFamily="34" charset="0"/>
                        </a:rPr>
                        <a:t>-0,48</a:t>
                      </a:r>
                    </a:p>
                  </a:txBody>
                  <a:tcPr marL="86214" marR="86214" marT="43107" marB="43107" anchor="ctr"/>
                </a:tc>
                <a:extLst>
                  <a:ext uri="{0D108BD9-81ED-4DB2-BD59-A6C34878D82A}">
                    <a16:rowId xmlns:a16="http://schemas.microsoft.com/office/drawing/2014/main" val="3038206402"/>
                  </a:ext>
                </a:extLst>
              </a:tr>
              <a:tr h="774403">
                <a:tc>
                  <a:txBody>
                    <a:bodyPr/>
                    <a:lstStyle/>
                    <a:p>
                      <a:pPr algn="l" rtl="0" fontAlgn="b"/>
                      <a:r>
                        <a:rPr lang="de-DE" sz="2400" b="1" i="0" u="none" strike="noStrike">
                          <a:solidFill>
                            <a:schemeClr val="accent3">
                              <a:lumMod val="75000"/>
                            </a:schemeClr>
                          </a:solidFill>
                          <a:effectLst/>
                          <a:latin typeface="Amalia" panose="020B0504020203020204" pitchFamily="34" charset="0"/>
                        </a:rPr>
                        <a:t>HY Unternehmensanleihen</a:t>
                      </a:r>
                    </a:p>
                  </a:txBody>
                  <a:tcPr marL="86214" marR="86214" marT="43107" marB="43107" anchor="ctr"/>
                </a:tc>
                <a:tc>
                  <a:txBody>
                    <a:bodyPr/>
                    <a:lstStyle/>
                    <a:p>
                      <a:pPr algn="r" rtl="0" fontAlgn="b"/>
                      <a:endParaRPr lang="de-DE" sz="2400" b="1" i="0" u="none" strike="noStrike">
                        <a:solidFill>
                          <a:srgbClr val="4472C4"/>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dirty="0">
                          <a:effectLst/>
                          <a:latin typeface="Amalia" panose="020B0504020203020204" pitchFamily="34" charset="0"/>
                        </a:rPr>
                        <a:t>2,82</a:t>
                      </a:r>
                      <a:endParaRPr lang="de-DE" sz="2400" b="1" i="0" u="none" strike="noStrike" dirty="0">
                        <a:solidFill>
                          <a:srgbClr val="4472C4"/>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a:effectLst/>
                          <a:latin typeface="Amalia" panose="020B0504020203020204" pitchFamily="34" charset="0"/>
                        </a:rPr>
                        <a:t>2,74</a:t>
                      </a:r>
                      <a:endParaRPr lang="de-DE" sz="2400" b="1" i="0" u="none" strike="noStrike">
                        <a:solidFill>
                          <a:srgbClr val="4472C4"/>
                        </a:solidFill>
                        <a:effectLst/>
                        <a:latin typeface="Amalia" panose="020B0504020203020204" pitchFamily="34" charset="0"/>
                      </a:endParaRPr>
                    </a:p>
                  </a:txBody>
                  <a:tcPr marL="86214" marR="86214" marT="43107" marB="43107" anchor="ctr"/>
                </a:tc>
                <a:tc>
                  <a:txBody>
                    <a:bodyPr/>
                    <a:lstStyle/>
                    <a:p>
                      <a:pPr algn="r" rtl="0" fontAlgn="b"/>
                      <a:r>
                        <a:rPr lang="de-DE" sz="2400" b="1" i="0" u="none" strike="noStrike">
                          <a:solidFill>
                            <a:srgbClr val="00B050"/>
                          </a:solidFill>
                          <a:effectLst/>
                          <a:latin typeface="Amalia" panose="020B0504020203020204" pitchFamily="34" charset="0"/>
                        </a:rPr>
                        <a:t>-0,08</a:t>
                      </a:r>
                    </a:p>
                  </a:txBody>
                  <a:tcPr marL="86214" marR="86214" marT="43107" marB="43107" anchor="ctr"/>
                </a:tc>
                <a:extLst>
                  <a:ext uri="{0D108BD9-81ED-4DB2-BD59-A6C34878D82A}">
                    <a16:rowId xmlns:a16="http://schemas.microsoft.com/office/drawing/2014/main" val="3403270490"/>
                  </a:ext>
                </a:extLst>
              </a:tr>
              <a:tr h="774403">
                <a:tc>
                  <a:txBody>
                    <a:bodyPr/>
                    <a:lstStyle/>
                    <a:p>
                      <a:pPr algn="l" rtl="0" fontAlgn="b"/>
                      <a:r>
                        <a:rPr lang="de-DE" sz="2400" u="none" strike="noStrike">
                          <a:solidFill>
                            <a:schemeClr val="accent3">
                              <a:lumMod val="75000"/>
                            </a:schemeClr>
                          </a:solidFill>
                          <a:effectLst/>
                          <a:latin typeface="Amalia" panose="020B0504020203020204" pitchFamily="34" charset="0"/>
                        </a:rPr>
                        <a:t>CCC Unternehmensanleihen</a:t>
                      </a:r>
                      <a:endParaRPr lang="de-DE" sz="2400" b="0" i="0" u="none" strike="noStrike">
                        <a:solidFill>
                          <a:schemeClr val="accent3">
                            <a:lumMod val="75000"/>
                          </a:schemeClr>
                        </a:solidFill>
                        <a:effectLst/>
                        <a:latin typeface="Amalia" panose="020B0504020203020204" pitchFamily="34" charset="0"/>
                      </a:endParaRPr>
                    </a:p>
                  </a:txBody>
                  <a:tcPr marL="86214" marR="86214" marT="43107" marB="43107" anchor="ctr"/>
                </a:tc>
                <a:tc>
                  <a:txBody>
                    <a:bodyPr/>
                    <a:lstStyle/>
                    <a:p>
                      <a:pPr algn="r" rtl="0" fontAlgn="b"/>
                      <a:endParaRPr lang="de-DE" sz="2200" b="0" i="0" u="none" strike="noStrike">
                        <a:solidFill>
                          <a:srgbClr val="000000"/>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dirty="0">
                          <a:effectLst/>
                          <a:latin typeface="Amalia" panose="020B0504020203020204" pitchFamily="34" charset="0"/>
                        </a:rPr>
                        <a:t>6,33</a:t>
                      </a:r>
                      <a:endParaRPr lang="de-DE" sz="2400" b="0" i="0" u="none" strike="noStrike" dirty="0">
                        <a:solidFill>
                          <a:srgbClr val="000000"/>
                        </a:solidFill>
                        <a:effectLst/>
                        <a:latin typeface="Amalia" panose="020B0504020203020204" pitchFamily="34" charset="0"/>
                      </a:endParaRPr>
                    </a:p>
                  </a:txBody>
                  <a:tcPr marL="86214" marR="86214" marT="43107" marB="43107" anchor="ctr"/>
                </a:tc>
                <a:tc>
                  <a:txBody>
                    <a:bodyPr/>
                    <a:lstStyle/>
                    <a:p>
                      <a:pPr algn="r" rtl="0" fontAlgn="b"/>
                      <a:r>
                        <a:rPr lang="de-DE" sz="2400" u="none" strike="noStrike">
                          <a:effectLst/>
                          <a:latin typeface="Amalia" panose="020B0504020203020204" pitchFamily="34" charset="0"/>
                        </a:rPr>
                        <a:t>6,73</a:t>
                      </a:r>
                      <a:endParaRPr lang="de-DE" sz="2400" b="0" i="0" u="none" strike="noStrike">
                        <a:solidFill>
                          <a:srgbClr val="000000"/>
                        </a:solidFill>
                        <a:effectLst/>
                        <a:latin typeface="Amalia" panose="020B0504020203020204" pitchFamily="34" charset="0"/>
                      </a:endParaRPr>
                    </a:p>
                  </a:txBody>
                  <a:tcPr marL="86214" marR="86214" marT="43107" marB="43107" anchor="ctr"/>
                </a:tc>
                <a:tc>
                  <a:txBody>
                    <a:bodyPr/>
                    <a:lstStyle/>
                    <a:p>
                      <a:pPr algn="r" rtl="0" fontAlgn="b"/>
                      <a:r>
                        <a:rPr lang="de-DE" sz="2400" b="1" i="0" u="none" strike="noStrike">
                          <a:solidFill>
                            <a:srgbClr val="FF0000"/>
                          </a:solidFill>
                          <a:effectLst/>
                          <a:latin typeface="Amalia" panose="020B0504020203020204" pitchFamily="34" charset="0"/>
                        </a:rPr>
                        <a:t>+0,40</a:t>
                      </a:r>
                    </a:p>
                  </a:txBody>
                  <a:tcPr marL="86214" marR="86214" marT="43107" marB="43107" anchor="ctr"/>
                </a:tc>
                <a:extLst>
                  <a:ext uri="{0D108BD9-81ED-4DB2-BD59-A6C34878D82A}">
                    <a16:rowId xmlns:a16="http://schemas.microsoft.com/office/drawing/2014/main" val="4128746815"/>
                  </a:ext>
                </a:extLst>
              </a:tr>
            </a:tbl>
          </a:graphicData>
        </a:graphic>
      </p:graphicFrame>
      <p:sp>
        <p:nvSpPr>
          <p:cNvPr id="6" name="Rectangle 5">
            <a:extLst>
              <a:ext uri="{FF2B5EF4-FFF2-40B4-BE49-F238E27FC236}">
                <a16:creationId xmlns:a16="http://schemas.microsoft.com/office/drawing/2014/main" id="{CE0CC071-CEFD-41D5-AD97-6F7FC3568CB4}"/>
              </a:ext>
            </a:extLst>
          </p:cNvPr>
          <p:cNvSpPr/>
          <p:nvPr/>
        </p:nvSpPr>
        <p:spPr bwMode="gray">
          <a:xfrm>
            <a:off x="539305" y="5876487"/>
            <a:ext cx="4869884" cy="4629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000">
                <a:solidFill>
                  <a:srgbClr val="808080">
                    <a:alpha val="100000"/>
                  </a:srgbClr>
                </a:solidFill>
                <a:latin typeface="Amalia" panose="020B0504020203020204" pitchFamily="34" charset="0"/>
                <a:cs typeface="+mj-cs"/>
              </a:rPr>
              <a:t>Quelle: Bloomberg, Refinitiv, ICE </a:t>
            </a:r>
            <a:r>
              <a:rPr lang="en-US" sz="1000" err="1">
                <a:solidFill>
                  <a:srgbClr val="808080">
                    <a:alpha val="100000"/>
                  </a:srgbClr>
                </a:solidFill>
                <a:latin typeface="Amalia" panose="020B0504020203020204" pitchFamily="34" charset="0"/>
                <a:cs typeface="+mj-cs"/>
              </a:rPr>
              <a:t>BofAML</a:t>
            </a:r>
            <a:r>
              <a:rPr lang="en-US" sz="1000">
                <a:solidFill>
                  <a:srgbClr val="808080">
                    <a:alpha val="100000"/>
                  </a:srgbClr>
                </a:solidFill>
                <a:latin typeface="Amalia" panose="020B0504020203020204" pitchFamily="34" charset="0"/>
                <a:cs typeface="+mj-cs"/>
              </a:rPr>
              <a:t>, RBI/Raiffeisen Research </a:t>
            </a:r>
            <a:endParaRPr lang="en-GB" sz="1000">
              <a:solidFill>
                <a:srgbClr val="808080">
                  <a:alpha val="100000"/>
                </a:srgbClr>
              </a:solidFill>
              <a:latin typeface="Amalia" panose="020B0504020203020204" pitchFamily="34" charset="0"/>
              <a:cs typeface="+mj-cs"/>
            </a:endParaRPr>
          </a:p>
        </p:txBody>
      </p:sp>
    </p:spTree>
    <p:extLst>
      <p:ext uri="{BB962C8B-B14F-4D97-AF65-F5344CB8AC3E}">
        <p14:creationId xmlns:p14="http://schemas.microsoft.com/office/powerpoint/2010/main" val="1886331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0-#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692AB-64D7-46AE-8ACD-C4F02B083127}"/>
              </a:ext>
            </a:extLst>
          </p:cNvPr>
          <p:cNvSpPr>
            <a:spLocks noGrp="1"/>
          </p:cNvSpPr>
          <p:nvPr>
            <p:ph type="title"/>
          </p:nvPr>
        </p:nvSpPr>
        <p:spPr/>
        <p:txBody>
          <a:bodyPr/>
          <a:lstStyle/>
          <a:p>
            <a:r>
              <a:rPr lang="de-DE" sz="2260" dirty="0">
                <a:latin typeface="Amalia" panose="020B0504020203020204" pitchFamily="34" charset="0"/>
              </a:rPr>
              <a:t>ÖSTERREICH: ZINSEN</a:t>
            </a:r>
            <a:br>
              <a:rPr lang="de-DE" sz="2260" dirty="0">
                <a:latin typeface="Amalia" panose="020B0504020203020204" pitchFamily="34" charset="0"/>
              </a:rPr>
            </a:br>
            <a:r>
              <a:rPr lang="de-AT" sz="2260" b="0" dirty="0">
                <a:solidFill>
                  <a:schemeClr val="bg1">
                    <a:lumMod val="50000"/>
                  </a:schemeClr>
                </a:solidFill>
                <a:latin typeface="Amalia" panose="020B0504020203020204" pitchFamily="34" charset="0"/>
              </a:rPr>
              <a:t>Tiefer geht’s wohl nicht mehr</a:t>
            </a:r>
            <a:endParaRPr lang="en-GB" sz="2260" dirty="0"/>
          </a:p>
        </p:txBody>
      </p:sp>
      <p:sp>
        <p:nvSpPr>
          <p:cNvPr id="5" name="Rectangle 9">
            <a:extLst>
              <a:ext uri="{FF2B5EF4-FFF2-40B4-BE49-F238E27FC236}">
                <a16:creationId xmlns:a16="http://schemas.microsoft.com/office/drawing/2014/main" id="{94447B21-A373-4ACE-B46B-FAAE920FADF2}"/>
              </a:ext>
            </a:extLst>
          </p:cNvPr>
          <p:cNvSpPr/>
          <p:nvPr/>
        </p:nvSpPr>
        <p:spPr>
          <a:xfrm>
            <a:off x="644606" y="6543947"/>
            <a:ext cx="8294343" cy="356380"/>
          </a:xfrm>
          <a:prstGeom prst="rect">
            <a:avLst/>
          </a:prstGeom>
        </p:spPr>
        <p:txBody>
          <a:bodyPr wrap="square">
            <a:spAutoFit/>
          </a:bodyPr>
          <a:lstStyle/>
          <a:p>
            <a:endParaRPr lang="it-IT" sz="716" i="1" dirty="0"/>
          </a:p>
          <a:p>
            <a:r>
              <a:rPr lang="it-IT" sz="1000" dirty="0">
                <a:solidFill>
                  <a:srgbClr val="808080">
                    <a:alpha val="100000"/>
                  </a:srgbClr>
                </a:solidFill>
                <a:latin typeface="Amalia" panose="020B0504020203020204" pitchFamily="34" charset="0"/>
                <a:cs typeface="+mj-cs"/>
              </a:rPr>
              <a:t>Quelle: </a:t>
            </a:r>
            <a:r>
              <a:rPr lang="it-IT" sz="1000" dirty="0" err="1">
                <a:solidFill>
                  <a:srgbClr val="808080">
                    <a:alpha val="100000"/>
                  </a:srgbClr>
                </a:solidFill>
                <a:latin typeface="Amalia" panose="020B0504020203020204" pitchFamily="34" charset="0"/>
                <a:cs typeface="+mj-cs"/>
              </a:rPr>
              <a:t>OeNB</a:t>
            </a:r>
            <a:r>
              <a:rPr lang="it-IT" sz="1000" dirty="0">
                <a:solidFill>
                  <a:srgbClr val="808080">
                    <a:alpha val="100000"/>
                  </a:srgbClr>
                </a:solidFill>
                <a:latin typeface="Amalia" panose="020B0504020203020204" pitchFamily="34" charset="0"/>
                <a:cs typeface="+mj-cs"/>
              </a:rPr>
              <a:t>, Raiffeisen </a:t>
            </a:r>
            <a:r>
              <a:rPr lang="it-IT" sz="1000" dirty="0" err="1">
                <a:solidFill>
                  <a:srgbClr val="808080">
                    <a:alpha val="100000"/>
                  </a:srgbClr>
                </a:solidFill>
                <a:latin typeface="Amalia" panose="020B0504020203020204" pitchFamily="34" charset="0"/>
                <a:cs typeface="+mj-cs"/>
              </a:rPr>
              <a:t>Research</a:t>
            </a:r>
            <a:endParaRPr lang="de-AT" sz="1000" dirty="0">
              <a:solidFill>
                <a:srgbClr val="808080">
                  <a:alpha val="100000"/>
                </a:srgbClr>
              </a:solidFill>
              <a:latin typeface="Amalia" panose="020B0504020203020204" pitchFamily="34" charset="0"/>
              <a:cs typeface="+mj-cs"/>
            </a:endParaRPr>
          </a:p>
        </p:txBody>
      </p:sp>
      <p:graphicFrame>
        <p:nvGraphicFramePr>
          <p:cNvPr id="6" name="Diagramm 5">
            <a:extLst>
              <a:ext uri="{FF2B5EF4-FFF2-40B4-BE49-F238E27FC236}">
                <a16:creationId xmlns:a16="http://schemas.microsoft.com/office/drawing/2014/main" id="{D5B59EEC-B27C-41AF-8541-2EEF243C89B7}"/>
              </a:ext>
            </a:extLst>
          </p:cNvPr>
          <p:cNvGraphicFramePr>
            <a:graphicFrameLocks/>
          </p:cNvGraphicFramePr>
          <p:nvPr/>
        </p:nvGraphicFramePr>
        <p:xfrm>
          <a:off x="274320" y="1128870"/>
          <a:ext cx="12964160" cy="548529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151078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1C6669-D17D-4341-9BFB-3E5DBB1734D1}"/>
              </a:ext>
            </a:extLst>
          </p:cNvPr>
          <p:cNvSpPr>
            <a:spLocks noGrp="1"/>
          </p:cNvSpPr>
          <p:nvPr>
            <p:ph type="title"/>
          </p:nvPr>
        </p:nvSpPr>
        <p:spPr>
          <a:xfrm>
            <a:off x="627290" y="471294"/>
            <a:ext cx="10896453" cy="388536"/>
          </a:xfrm>
        </p:spPr>
        <p:txBody>
          <a:bodyPr/>
          <a:lstStyle/>
          <a:p>
            <a:r>
              <a:rPr lang="de-DE" sz="2260">
                <a:latin typeface="Amalia" panose="020B0504020203020204" pitchFamily="34" charset="0"/>
              </a:rPr>
              <a:t>ÖSTERREICH: WOHNIMMOBILIENMARKT</a:t>
            </a:r>
            <a:br>
              <a:rPr lang="de-DE" sz="2260">
                <a:latin typeface="Amalia" panose="020B0504020203020204" pitchFamily="34" charset="0"/>
              </a:rPr>
            </a:br>
            <a:r>
              <a:rPr lang="de-DE" sz="2260" b="0">
                <a:solidFill>
                  <a:schemeClr val="bg1">
                    <a:lumMod val="50000"/>
                  </a:schemeClr>
                </a:solidFill>
                <a:latin typeface="Amalia" panose="020B0504020203020204" pitchFamily="34" charset="0"/>
              </a:rPr>
              <a:t>Divergenz statt Konvergenz auch im Corona-Jahr 2020</a:t>
            </a:r>
          </a:p>
        </p:txBody>
      </p:sp>
      <p:sp>
        <p:nvSpPr>
          <p:cNvPr id="7" name="Rechteck 16">
            <a:extLst>
              <a:ext uri="{FF2B5EF4-FFF2-40B4-BE49-F238E27FC236}">
                <a16:creationId xmlns:a16="http://schemas.microsoft.com/office/drawing/2014/main" id="{D1684610-E2EF-49D9-BB06-5C5C42A678B0}"/>
              </a:ext>
            </a:extLst>
          </p:cNvPr>
          <p:cNvSpPr/>
          <p:nvPr/>
        </p:nvSpPr>
        <p:spPr>
          <a:xfrm>
            <a:off x="621279" y="6760171"/>
            <a:ext cx="5226627" cy="246221"/>
          </a:xfrm>
          <a:prstGeom prst="rect">
            <a:avLst/>
          </a:prstGeom>
        </p:spPr>
        <p:txBody>
          <a:bodyPr wrap="square">
            <a:spAutoFit/>
          </a:bodyPr>
          <a:lstStyle/>
          <a:p>
            <a:r>
              <a:rPr lang="de-DE" sz="1000" dirty="0">
                <a:solidFill>
                  <a:srgbClr val="808080">
                    <a:alpha val="100000"/>
                  </a:srgbClr>
                </a:solidFill>
                <a:latin typeface="Amalia" panose="020B0504020203020204" pitchFamily="34" charset="0"/>
                <a:cs typeface="+mj-cs"/>
              </a:rPr>
              <a:t>Transaktionspreise in EUR/m2; Quelle: Statistik Austria, Raiffeisen Research</a:t>
            </a:r>
          </a:p>
        </p:txBody>
      </p:sp>
      <p:graphicFrame>
        <p:nvGraphicFramePr>
          <p:cNvPr id="6" name="Chart 5">
            <a:extLst>
              <a:ext uri="{FF2B5EF4-FFF2-40B4-BE49-F238E27FC236}">
                <a16:creationId xmlns:a16="http://schemas.microsoft.com/office/drawing/2014/main" id="{0CA6335E-18B0-4DC1-9035-759F18B5CD21}"/>
              </a:ext>
            </a:extLst>
          </p:cNvPr>
          <p:cNvGraphicFramePr>
            <a:graphicFrameLocks/>
          </p:cNvGraphicFramePr>
          <p:nvPr>
            <p:extLst>
              <p:ext uri="{D42A27DB-BD31-4B8C-83A1-F6EECF244321}">
                <p14:modId xmlns:p14="http://schemas.microsoft.com/office/powerpoint/2010/main" val="2409008563"/>
              </p:ext>
            </p:extLst>
          </p:nvPr>
        </p:nvGraphicFramePr>
        <p:xfrm>
          <a:off x="6847368" y="1101225"/>
          <a:ext cx="6358270" cy="52995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1E77A242-8C40-4E73-8290-9F466B700097}"/>
              </a:ext>
            </a:extLst>
          </p:cNvPr>
          <p:cNvGraphicFramePr>
            <a:graphicFrameLocks/>
          </p:cNvGraphicFramePr>
          <p:nvPr/>
        </p:nvGraphicFramePr>
        <p:xfrm>
          <a:off x="493583" y="1101225"/>
          <a:ext cx="6102000" cy="563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204644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3243" y="471503"/>
            <a:ext cx="9057315" cy="388513"/>
          </a:xfrm>
        </p:spPr>
        <p:txBody>
          <a:bodyPr/>
          <a:lstStyle/>
          <a:p>
            <a:pPr>
              <a:lnSpc>
                <a:spcPct val="100000"/>
              </a:lnSpc>
              <a:spcBef>
                <a:spcPts val="0"/>
              </a:spcBef>
            </a:pPr>
            <a:br>
              <a:rPr lang="en-US" sz="2400" dirty="0">
                <a:latin typeface="Amalia" panose="020B0504020203020204" pitchFamily="34" charset="0"/>
              </a:rPr>
            </a:br>
            <a:r>
              <a:rPr lang="en-US" sz="2400" dirty="0">
                <a:latin typeface="Amalia" panose="020B0504020203020204" pitchFamily="34" charset="0"/>
              </a:rPr>
              <a:t>AKTIENMÄRKTE: DOUBLE TROUBLE?</a:t>
            </a:r>
            <a:br>
              <a:rPr lang="en-US" sz="2400" b="0" dirty="0">
                <a:solidFill>
                  <a:srgbClr val="000000">
                    <a:alpha val="100000"/>
                  </a:srgbClr>
                </a:solidFill>
                <a:latin typeface="Amalia" panose="020B0504020203020204" pitchFamily="34" charset="0"/>
              </a:rPr>
            </a:br>
            <a:r>
              <a:rPr lang="en-US" sz="2400" b="0" dirty="0">
                <a:solidFill>
                  <a:schemeClr val="bg1">
                    <a:lumMod val="50000"/>
                  </a:schemeClr>
                </a:solidFill>
                <a:latin typeface="Amalia" panose="020B0504020203020204" pitchFamily="34" charset="0"/>
              </a:rPr>
              <a:t>S&amp;P 500 </a:t>
            </a:r>
            <a:r>
              <a:rPr lang="en-US" sz="2400" b="0" dirty="0" err="1">
                <a:solidFill>
                  <a:schemeClr val="bg1">
                    <a:lumMod val="50000"/>
                  </a:schemeClr>
                </a:solidFill>
                <a:latin typeface="Amalia" panose="020B0504020203020204" pitchFamily="34" charset="0"/>
              </a:rPr>
              <a:t>legt</a:t>
            </a:r>
            <a:r>
              <a:rPr lang="en-US" sz="2400" b="0" dirty="0">
                <a:solidFill>
                  <a:schemeClr val="bg1">
                    <a:lumMod val="50000"/>
                  </a:schemeClr>
                </a:solidFill>
                <a:latin typeface="Amalia" panose="020B0504020203020204" pitchFamily="34" charset="0"/>
              </a:rPr>
              <a:t> um 100 % </a:t>
            </a:r>
            <a:r>
              <a:rPr lang="en-US" sz="2400" b="0" dirty="0" err="1">
                <a:solidFill>
                  <a:schemeClr val="bg1">
                    <a:lumMod val="50000"/>
                  </a:schemeClr>
                </a:solidFill>
                <a:latin typeface="Amalia" panose="020B0504020203020204" pitchFamily="34" charset="0"/>
              </a:rPr>
              <a:t>seit</a:t>
            </a:r>
            <a:r>
              <a:rPr lang="en-US" sz="2400" b="0" dirty="0">
                <a:solidFill>
                  <a:schemeClr val="bg1">
                    <a:lumMod val="50000"/>
                  </a:schemeClr>
                </a:solidFill>
                <a:latin typeface="Amalia" panose="020B0504020203020204" pitchFamily="34" charset="0"/>
              </a:rPr>
              <a:t> dem </a:t>
            </a:r>
            <a:r>
              <a:rPr lang="en-US" sz="2400" b="0" dirty="0" err="1">
                <a:solidFill>
                  <a:schemeClr val="bg1">
                    <a:lumMod val="50000"/>
                  </a:schemeClr>
                </a:solidFill>
                <a:latin typeface="Amalia" panose="020B0504020203020204" pitchFamily="34" charset="0"/>
              </a:rPr>
              <a:t>Krisentief</a:t>
            </a:r>
            <a:r>
              <a:rPr lang="en-US" sz="2400" b="0" dirty="0">
                <a:solidFill>
                  <a:schemeClr val="bg1">
                    <a:lumMod val="50000"/>
                  </a:schemeClr>
                </a:solidFill>
                <a:latin typeface="Amalia" panose="020B0504020203020204" pitchFamily="34" charset="0"/>
              </a:rPr>
              <a:t> </a:t>
            </a:r>
            <a:r>
              <a:rPr lang="en-US" sz="2400" b="0" dirty="0" err="1">
                <a:solidFill>
                  <a:schemeClr val="bg1">
                    <a:lumMod val="50000"/>
                  </a:schemeClr>
                </a:solidFill>
                <a:latin typeface="Amalia" panose="020B0504020203020204" pitchFamily="34" charset="0"/>
              </a:rPr>
              <a:t>zu</a:t>
            </a:r>
            <a:endParaRPr sz="2400" b="0" dirty="0">
              <a:solidFill>
                <a:schemeClr val="bg1">
                  <a:lumMod val="50000"/>
                </a:schemeClr>
              </a:solidFill>
              <a:latin typeface="Amalia" panose="020B0504020203020204" pitchFamily="34" charset="0"/>
            </a:endParaRPr>
          </a:p>
        </p:txBody>
      </p:sp>
      <p:sp>
        <p:nvSpPr>
          <p:cNvPr id="39" name="Content Placeholder 38"/>
          <p:cNvSpPr>
            <a:spLocks noGrp="1"/>
          </p:cNvSpPr>
          <p:nvPr>
            <p:ph sz="quarter" idx="24"/>
          </p:nvPr>
        </p:nvSpPr>
        <p:spPr>
          <a:xfrm>
            <a:off x="590075" y="6671482"/>
            <a:ext cx="7626142" cy="491668"/>
          </a:xfrm>
        </p:spPr>
        <p:txBody>
          <a:bodyPr>
            <a:normAutofit/>
          </a:bodyPr>
          <a:lstStyle/>
          <a:p>
            <a:pPr>
              <a:spcAft>
                <a:spcPts val="0"/>
              </a:spcAft>
            </a:pPr>
            <a:br>
              <a:rPr lang="en-US" sz="1000" dirty="0">
                <a:latin typeface="Amalia" panose="020B0504020203020204" pitchFamily="34" charset="0"/>
              </a:rPr>
            </a:br>
            <a:r>
              <a:rPr lang="en-US" sz="1000" dirty="0">
                <a:solidFill>
                  <a:srgbClr val="808080">
                    <a:alpha val="100000"/>
                  </a:srgbClr>
                </a:solidFill>
                <a:latin typeface="Amalia" panose="020B0504020203020204" pitchFamily="34" charset="0"/>
              </a:rPr>
              <a:t>Quelle</a:t>
            </a:r>
            <a:r>
              <a:rPr lang="en-US" sz="1000" dirty="0">
                <a:solidFill>
                  <a:srgbClr val="808080">
                    <a:alpha val="100000"/>
                  </a:srgbClr>
                </a:solidFill>
                <a:latin typeface="Amalia" panose="020B0504020203020204" pitchFamily="34" charset="0"/>
                <a:cs typeface="Century Gothic"/>
              </a:rPr>
              <a:t>: Refinitiv, RBI/Raiffeisen Research</a:t>
            </a:r>
          </a:p>
        </p:txBody>
      </p:sp>
      <p:graphicFrame>
        <p:nvGraphicFramePr>
          <p:cNvPr id="7" name="Chart 6">
            <a:extLst>
              <a:ext uri="{FF2B5EF4-FFF2-40B4-BE49-F238E27FC236}">
                <a16:creationId xmlns:a16="http://schemas.microsoft.com/office/drawing/2014/main" id="{2186F2A1-54A0-482E-8650-86D51B926ECB}"/>
              </a:ext>
            </a:extLst>
          </p:cNvPr>
          <p:cNvGraphicFramePr>
            <a:graphicFrameLocks/>
          </p:cNvGraphicFramePr>
          <p:nvPr>
            <p:extLst>
              <p:ext uri="{D42A27DB-BD31-4B8C-83A1-F6EECF244321}">
                <p14:modId xmlns:p14="http://schemas.microsoft.com/office/powerpoint/2010/main" val="1699859379"/>
              </p:ext>
            </p:extLst>
          </p:nvPr>
        </p:nvGraphicFramePr>
        <p:xfrm>
          <a:off x="571501" y="1122217"/>
          <a:ext cx="12593781" cy="557991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90454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9">
                                            <p:txEl>
                                              <p:pRg st="0" end="0"/>
                                            </p:txEl>
                                          </p:spTgt>
                                        </p:tgtEl>
                                        <p:attrNameLst>
                                          <p:attrName>style.visibility</p:attrName>
                                        </p:attrNameLst>
                                      </p:cBhvr>
                                      <p:to>
                                        <p:strVal val="visible"/>
                                      </p:to>
                                    </p:set>
                                    <p:anim calcmode="lin" valueType="num">
                                      <p:cBhvr additive="base">
                                        <p:cTn id="7" dur="500" fill="hold"/>
                                        <p:tgtEl>
                                          <p:spTgt spid="3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9">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build="p"/>
      <p:bldGraphic spid="7" grpId="0">
        <p:bldAsOne/>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F045D56E-CFA1-4FD4-8A2A-9F8BC9508BF4}"/>
              </a:ext>
            </a:extLst>
          </p:cNvPr>
          <p:cNvSpPr>
            <a:spLocks noGrp="1"/>
          </p:cNvSpPr>
          <p:nvPr>
            <p:ph type="title"/>
          </p:nvPr>
        </p:nvSpPr>
        <p:spPr>
          <a:xfrm>
            <a:off x="634629" y="471294"/>
            <a:ext cx="10546210" cy="374634"/>
          </a:xfrm>
        </p:spPr>
        <p:txBody>
          <a:bodyPr/>
          <a:lstStyle/>
          <a:p>
            <a:endParaRPr lang="de-AT"/>
          </a:p>
        </p:txBody>
      </p:sp>
      <p:sp>
        <p:nvSpPr>
          <p:cNvPr id="10" name="Textplatzhalter 9">
            <a:extLst>
              <a:ext uri="{FF2B5EF4-FFF2-40B4-BE49-F238E27FC236}">
                <a16:creationId xmlns:a16="http://schemas.microsoft.com/office/drawing/2014/main" id="{AF1A72CA-9C11-4AE3-A8E3-8338231E21D8}"/>
              </a:ext>
            </a:extLst>
          </p:cNvPr>
          <p:cNvSpPr>
            <a:spLocks noGrp="1"/>
          </p:cNvSpPr>
          <p:nvPr>
            <p:ph type="body" sz="quarter" idx="4294967295"/>
          </p:nvPr>
        </p:nvSpPr>
        <p:spPr>
          <a:xfrm>
            <a:off x="544196" y="1142890"/>
            <a:ext cx="12490011" cy="7003096"/>
          </a:xfrm>
        </p:spPr>
        <p:txBody>
          <a:bodyPr/>
          <a:lstStyle/>
          <a:p>
            <a:r>
              <a:rPr lang="de-AT" sz="1760" b="0"/>
              <a:t>Diese Präsentation dient zu Informationszwecken. </a:t>
            </a:r>
          </a:p>
          <a:p>
            <a:endParaRPr lang="de-AT" sz="1760" b="0"/>
          </a:p>
          <a:p>
            <a:r>
              <a:rPr lang="de-AT" sz="1760" b="0"/>
              <a:t>Die Präsentation ist weder ein öffentliches Angebot noch eine Einladung zur Angebotsstellung im Sinne des KMG, des </a:t>
            </a:r>
            <a:r>
              <a:rPr lang="de-AT" sz="1760" b="0" err="1"/>
              <a:t>Börsegesetzes</a:t>
            </a:r>
            <a:r>
              <a:rPr lang="de-AT" sz="1760" b="0"/>
              <a:t> oder eines vergleichbaren ausländischen Gesetzes. Eine Anlageentscheidung hinsichtlich eines solchen Finanzproduktes hat auf der Grundlage eines genehmigten und veröffentlichten Prospektes zu erfolgen und nicht auf der Grundlage dieser Präsentation. </a:t>
            </a:r>
          </a:p>
          <a:p>
            <a:endParaRPr lang="de-AT" sz="1760" b="0"/>
          </a:p>
          <a:p>
            <a:r>
              <a:rPr lang="de-AT" sz="1760" b="0"/>
              <a:t>Diese Präsentation ist keine persönliche Empfehlung / Anlageberatung zum Kauf oder Verkauf von Finanzinstrumenten im Sinne des Wertpapieraufsichtsgesetzes. Die Präsentation stellt keine Grundlage irgendeines Vertrages oder einer Verpflichtung dar. </a:t>
            </a:r>
          </a:p>
          <a:p>
            <a:endParaRPr lang="de-AT" sz="1760" b="0"/>
          </a:p>
          <a:p>
            <a:r>
              <a:rPr lang="de-AT" sz="1760" b="0"/>
              <a:t>Die Präsentation stellt keinen Ersatz für die erforderliche Beratung für den Kauf oder Verkauf eines Finanzproduktes dar. Eine individuelle anleger- und anlagegerechte Beratung kann bei Ihrem Bankberater eingeholt werden.</a:t>
            </a:r>
          </a:p>
        </p:txBody>
      </p:sp>
    </p:spTree>
    <p:extLst>
      <p:ext uri="{BB962C8B-B14F-4D97-AF65-F5344CB8AC3E}">
        <p14:creationId xmlns:p14="http://schemas.microsoft.com/office/powerpoint/2010/main" val="25871374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0F672D-DD44-4578-AB84-6EAFC461A417}"/>
              </a:ext>
            </a:extLst>
          </p:cNvPr>
          <p:cNvSpPr>
            <a:spLocks noGrp="1"/>
          </p:cNvSpPr>
          <p:nvPr>
            <p:ph type="title"/>
          </p:nvPr>
        </p:nvSpPr>
        <p:spPr>
          <a:xfrm>
            <a:off x="634629" y="471294"/>
            <a:ext cx="10546210" cy="374634"/>
          </a:xfrm>
        </p:spPr>
        <p:txBody>
          <a:bodyPr/>
          <a:lstStyle/>
          <a:p>
            <a:pPr>
              <a:lnSpc>
                <a:spcPct val="100000"/>
              </a:lnSpc>
              <a:spcBef>
                <a:spcPts val="0"/>
              </a:spcBef>
            </a:pPr>
            <a:r>
              <a:rPr lang="de-DE" sz="2400" dirty="0">
                <a:solidFill>
                  <a:srgbClr val="000000">
                    <a:alpha val="100000"/>
                  </a:srgbClr>
                </a:solidFill>
              </a:rPr>
              <a:t>AUSBLICK 2022 KONJUNKTUR &amp; FINANZMÄRKTE</a:t>
            </a:r>
            <a:br>
              <a:rPr lang="de-DE" sz="2400" dirty="0">
                <a:solidFill>
                  <a:srgbClr val="000000">
                    <a:alpha val="100000"/>
                  </a:srgbClr>
                </a:solidFill>
              </a:rPr>
            </a:br>
            <a:r>
              <a:rPr lang="de-DE" sz="2400" b="0" dirty="0">
                <a:solidFill>
                  <a:schemeClr val="bg1">
                    <a:lumMod val="50000"/>
                  </a:schemeClr>
                </a:solidFill>
              </a:rPr>
              <a:t>Weiter Sonnenschein oder Wetterumschwung?</a:t>
            </a:r>
          </a:p>
        </p:txBody>
      </p:sp>
      <p:grpSp>
        <p:nvGrpSpPr>
          <p:cNvPr id="4" name="Gruppieren 3">
            <a:extLst>
              <a:ext uri="{FF2B5EF4-FFF2-40B4-BE49-F238E27FC236}">
                <a16:creationId xmlns:a16="http://schemas.microsoft.com/office/drawing/2014/main" id="{40B4B342-6316-4E7E-9C95-EC5E1FE1B818}"/>
              </a:ext>
            </a:extLst>
          </p:cNvPr>
          <p:cNvGrpSpPr/>
          <p:nvPr/>
        </p:nvGrpSpPr>
        <p:grpSpPr>
          <a:xfrm>
            <a:off x="1981754" y="1116755"/>
            <a:ext cx="9761172" cy="5888334"/>
            <a:chOff x="2001196" y="1115366"/>
            <a:chExt cx="9761172" cy="5888334"/>
          </a:xfrm>
        </p:grpSpPr>
        <p:pic>
          <p:nvPicPr>
            <p:cNvPr id="5" name="Grafik 4" descr="Ein Bild, das Wasser, Baum, draußen, Himmel enthält.&#10;&#10;Automatisch generierte Beschreibung">
              <a:extLst>
                <a:ext uri="{FF2B5EF4-FFF2-40B4-BE49-F238E27FC236}">
                  <a16:creationId xmlns:a16="http://schemas.microsoft.com/office/drawing/2014/main" id="{C49ABB5E-992E-4106-B15B-093B58990B7F}"/>
                </a:ext>
              </a:extLst>
            </p:cNvPr>
            <p:cNvPicPr>
              <a:picLocks noChangeAspect="1"/>
            </p:cNvPicPr>
            <p:nvPr/>
          </p:nvPicPr>
          <p:blipFill>
            <a:blip r:embed="rId2"/>
            <a:stretch>
              <a:fillRect/>
            </a:stretch>
          </p:blipFill>
          <p:spPr>
            <a:xfrm>
              <a:off x="2001196" y="1115366"/>
              <a:ext cx="4881916" cy="5888334"/>
            </a:xfrm>
            <a:prstGeom prst="rect">
              <a:avLst/>
            </a:prstGeom>
          </p:spPr>
        </p:pic>
        <p:pic>
          <p:nvPicPr>
            <p:cNvPr id="7" name="Grafik 6" descr="Ein Bild, das Wasser, draußen, Sonnenuntergang, Natur enthält.&#10;&#10;Automatisch generierte Beschreibung">
              <a:extLst>
                <a:ext uri="{FF2B5EF4-FFF2-40B4-BE49-F238E27FC236}">
                  <a16:creationId xmlns:a16="http://schemas.microsoft.com/office/drawing/2014/main" id="{3474982A-9798-4AFD-A466-FFA838EEA736}"/>
                </a:ext>
              </a:extLst>
            </p:cNvPr>
            <p:cNvPicPr>
              <a:picLocks noChangeAspect="1"/>
            </p:cNvPicPr>
            <p:nvPr/>
          </p:nvPicPr>
          <p:blipFill rotWithShape="1">
            <a:blip r:embed="rId3"/>
            <a:srcRect r="14119"/>
            <a:stretch/>
          </p:blipFill>
          <p:spPr>
            <a:xfrm>
              <a:off x="6880452" y="1115367"/>
              <a:ext cx="4881916" cy="5888333"/>
            </a:xfrm>
            <a:prstGeom prst="rect">
              <a:avLst/>
            </a:prstGeom>
          </p:spPr>
        </p:pic>
      </p:grpSp>
      <p:sp>
        <p:nvSpPr>
          <p:cNvPr id="6" name="Rectangle 3">
            <a:extLst>
              <a:ext uri="{FF2B5EF4-FFF2-40B4-BE49-F238E27FC236}">
                <a16:creationId xmlns:a16="http://schemas.microsoft.com/office/drawing/2014/main" id="{F0DE8F5B-6742-4274-A344-D59284A2D969}"/>
              </a:ext>
            </a:extLst>
          </p:cNvPr>
          <p:cNvSpPr/>
          <p:nvPr/>
        </p:nvSpPr>
        <p:spPr>
          <a:xfrm>
            <a:off x="2009471" y="1802914"/>
            <a:ext cx="9827058" cy="4893647"/>
          </a:xfrm>
          <a:prstGeom prst="rect">
            <a:avLst/>
          </a:prstGeom>
        </p:spPr>
        <p:txBody>
          <a:bodyPr wrap="square">
            <a:spAutoFit/>
          </a:bodyPr>
          <a:lstStyle/>
          <a:p>
            <a:pPr marL="285750" indent="-285750">
              <a:buFont typeface="Arial" panose="020B0604020202020204" pitchFamily="34" charset="0"/>
              <a:buChar char="•"/>
            </a:pPr>
            <a:r>
              <a:rPr lang="de-DE" sz="2400" b="1">
                <a:solidFill>
                  <a:schemeClr val="bg1"/>
                </a:solidFill>
                <a:latin typeface="Amalia" panose="020B0504020203020204" pitchFamily="34" charset="0"/>
              </a:rPr>
              <a:t>Konjunkturdynamik im Jahresverlauf 2022 abnehmend</a:t>
            </a:r>
            <a:br>
              <a:rPr lang="de-DE" sz="2400" b="1">
                <a:solidFill>
                  <a:schemeClr val="bg1"/>
                </a:solidFill>
                <a:latin typeface="Amalia" panose="020B0504020203020204" pitchFamily="34" charset="0"/>
              </a:rPr>
            </a:br>
            <a:endParaRPr lang="de-DE" sz="2400" b="1">
              <a:solidFill>
                <a:schemeClr val="bg1"/>
              </a:solidFill>
              <a:latin typeface="Amalia" panose="020B0504020203020204" pitchFamily="34" charset="0"/>
            </a:endParaRPr>
          </a:p>
          <a:p>
            <a:pPr marL="285750" indent="-285750">
              <a:buFont typeface="Arial" panose="020B0604020202020204" pitchFamily="34" charset="0"/>
              <a:buChar char="•"/>
            </a:pPr>
            <a:r>
              <a:rPr lang="de-DE" sz="2400" b="1">
                <a:solidFill>
                  <a:schemeClr val="bg1"/>
                </a:solidFill>
                <a:latin typeface="Amalia" panose="020B0504020203020204" pitchFamily="34" charset="0"/>
              </a:rPr>
              <a:t>Inflationsspitze in Q4, im Jahresverlauf 2022 abnehmend</a:t>
            </a:r>
          </a:p>
          <a:p>
            <a:pPr marL="285750" indent="-285750">
              <a:buFont typeface="Arial" panose="020B0604020202020204" pitchFamily="34" charset="0"/>
              <a:buChar char="•"/>
            </a:pPr>
            <a:endParaRPr lang="de-DE" sz="2400" b="1">
              <a:solidFill>
                <a:schemeClr val="bg1"/>
              </a:solidFill>
              <a:latin typeface="Amalia" panose="020B0504020203020204" pitchFamily="34" charset="0"/>
            </a:endParaRPr>
          </a:p>
          <a:p>
            <a:pPr marL="285750" indent="-285750">
              <a:buFont typeface="Arial" panose="020B0604020202020204" pitchFamily="34" charset="0"/>
              <a:buChar char="•"/>
            </a:pPr>
            <a:r>
              <a:rPr lang="de-DE" sz="2400" b="1">
                <a:solidFill>
                  <a:schemeClr val="bg1"/>
                </a:solidFill>
                <a:latin typeface="Amalia" panose="020B0504020203020204" pitchFamily="34" charset="0"/>
              </a:rPr>
              <a:t>Höheres Inflationspotenzial als in den vergangenen 10 Jahren</a:t>
            </a:r>
            <a:br>
              <a:rPr lang="de-DE" sz="2400" b="1">
                <a:solidFill>
                  <a:schemeClr val="bg1"/>
                </a:solidFill>
                <a:latin typeface="Amalia" panose="020B0504020203020204" pitchFamily="34" charset="0"/>
              </a:rPr>
            </a:br>
            <a:endParaRPr lang="de-DE" sz="2400" b="1">
              <a:solidFill>
                <a:schemeClr val="bg1"/>
              </a:solidFill>
              <a:latin typeface="Amalia" panose="020B0504020203020204" pitchFamily="34" charset="0"/>
            </a:endParaRPr>
          </a:p>
          <a:p>
            <a:pPr marL="285750" indent="-285750">
              <a:buFont typeface="Arial" panose="020B0604020202020204" pitchFamily="34" charset="0"/>
              <a:buChar char="•"/>
            </a:pPr>
            <a:r>
              <a:rPr lang="de-DE" sz="2400" b="1">
                <a:solidFill>
                  <a:schemeClr val="bg1"/>
                </a:solidFill>
                <a:latin typeface="Amalia" panose="020B0504020203020204" pitchFamily="34" charset="0"/>
              </a:rPr>
              <a:t>Unterschiedliche Geldpolitik in USA und Eurozone </a:t>
            </a:r>
          </a:p>
          <a:p>
            <a:endParaRPr lang="de-DE" sz="2400" b="1">
              <a:solidFill>
                <a:schemeClr val="bg1"/>
              </a:solidFill>
              <a:latin typeface="Amalia" panose="020B0504020203020204" pitchFamily="34" charset="0"/>
            </a:endParaRPr>
          </a:p>
          <a:p>
            <a:pPr marL="285750" indent="-285750">
              <a:buFont typeface="Arial" panose="020B0604020202020204" pitchFamily="34" charset="0"/>
              <a:buChar char="•"/>
            </a:pPr>
            <a:r>
              <a:rPr lang="de-DE" sz="2400" b="1">
                <a:solidFill>
                  <a:schemeClr val="bg1"/>
                </a:solidFill>
                <a:latin typeface="Amalia" panose="020B0504020203020204" pitchFamily="34" charset="0"/>
              </a:rPr>
              <a:t>USD begünstigt, negative Realzinsen bleiben, steilere Zinskurve</a:t>
            </a:r>
          </a:p>
          <a:p>
            <a:pPr marL="285750" indent="-285750">
              <a:buFont typeface="Arial" panose="020B0604020202020204" pitchFamily="34" charset="0"/>
              <a:buChar char="•"/>
            </a:pPr>
            <a:endParaRPr lang="de-DE" sz="2400" b="1">
              <a:solidFill>
                <a:schemeClr val="bg1"/>
              </a:solidFill>
              <a:latin typeface="Amalia" panose="020B0504020203020204" pitchFamily="34" charset="0"/>
            </a:endParaRPr>
          </a:p>
          <a:p>
            <a:pPr marL="285750" indent="-285750">
              <a:buFont typeface="Arial" panose="020B0604020202020204" pitchFamily="34" charset="0"/>
              <a:buChar char="•"/>
            </a:pPr>
            <a:r>
              <a:rPr lang="de-DE" sz="2400" b="1">
                <a:solidFill>
                  <a:schemeClr val="bg1"/>
                </a:solidFill>
                <a:latin typeface="Amalia" panose="020B0504020203020204" pitchFamily="34" charset="0"/>
              </a:rPr>
              <a:t>Aktien mit </a:t>
            </a:r>
            <a:r>
              <a:rPr lang="de-DE" sz="2400" b="1" err="1">
                <a:solidFill>
                  <a:schemeClr val="bg1"/>
                </a:solidFill>
                <a:latin typeface="Amalia" panose="020B0504020203020204" pitchFamily="34" charset="0"/>
              </a:rPr>
              <a:t>Rückschlagspotenzial</a:t>
            </a:r>
            <a:r>
              <a:rPr lang="de-DE" sz="2400" b="1">
                <a:solidFill>
                  <a:schemeClr val="bg1"/>
                </a:solidFill>
                <a:latin typeface="Amalia" panose="020B0504020203020204" pitchFamily="34" charset="0"/>
              </a:rPr>
              <a:t>, aber langfristig konkurrenzlos</a:t>
            </a:r>
          </a:p>
          <a:p>
            <a:endParaRPr lang="de-DE" sz="2400" b="1">
              <a:solidFill>
                <a:schemeClr val="bg1"/>
              </a:solidFill>
              <a:latin typeface="Amalia" panose="020B0504020203020204" pitchFamily="34" charset="0"/>
            </a:endParaRPr>
          </a:p>
        </p:txBody>
      </p:sp>
    </p:spTree>
    <p:extLst>
      <p:ext uri="{BB962C8B-B14F-4D97-AF65-F5344CB8AC3E}">
        <p14:creationId xmlns:p14="http://schemas.microsoft.com/office/powerpoint/2010/main" val="3464394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out)">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0-#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4">
            <a:extLst>
              <a:ext uri="{FF2B5EF4-FFF2-40B4-BE49-F238E27FC236}">
                <a16:creationId xmlns:a16="http://schemas.microsoft.com/office/drawing/2014/main" id="{462CA383-489E-4C64-874C-4B7C40D75950}"/>
              </a:ext>
            </a:extLst>
          </p:cNvPr>
          <p:cNvSpPr txBox="1">
            <a:spLocks/>
          </p:cNvSpPr>
          <p:nvPr/>
        </p:nvSpPr>
        <p:spPr bwMode="auto">
          <a:xfrm>
            <a:off x="549945" y="1417638"/>
            <a:ext cx="5957559" cy="5061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103879" tIns="51946" rIns="103879" bIns="51946" numCol="1" anchor="t" anchorCtr="0" compatLnSpc="1">
            <a:prstTxWarp prst="textNoShape">
              <a:avLst/>
            </a:prstTxWarp>
          </a:bodyPr>
          <a:lstStyle>
            <a:lvl1pPr marL="338138" indent="-33813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1pPr>
            <a:lvl2pPr marL="739775" indent="-28098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2pPr>
            <a:lvl3pPr marL="223838" indent="-22383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3pPr>
            <a:lvl4pPr marL="442913" indent="-22383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4pPr>
            <a:lvl5pPr marL="709613" indent="-223838" algn="l" rtl="0" eaLnBrk="0" fontAlgn="base" hangingPunct="0">
              <a:spcBef>
                <a:spcPct val="20000"/>
              </a:spcBef>
              <a:spcAft>
                <a:spcPct val="0"/>
              </a:spcAft>
              <a:buClr>
                <a:schemeClr val="tx1"/>
              </a:buClr>
              <a:buFont typeface="Wingdings" pitchFamily="2" charset="2"/>
              <a:buChar char="n"/>
              <a:defRPr sz="1400">
                <a:solidFill>
                  <a:schemeClr val="tx1"/>
                </a:solidFill>
                <a:latin typeface="+mn-lt"/>
                <a:ea typeface="+mn-ea"/>
                <a:cs typeface="+mn-cs"/>
              </a:defRPr>
            </a:lvl5pPr>
            <a:lvl6pPr marL="1166813" indent="-223838" algn="l" rtl="0" fontAlgn="base">
              <a:spcBef>
                <a:spcPct val="20000"/>
              </a:spcBef>
              <a:spcAft>
                <a:spcPct val="0"/>
              </a:spcAft>
              <a:buClr>
                <a:schemeClr val="tx1"/>
              </a:buClr>
              <a:buFont typeface="Wingdings" charset="2"/>
              <a:buChar char="n"/>
              <a:defRPr sz="1400">
                <a:solidFill>
                  <a:schemeClr val="tx1"/>
                </a:solidFill>
                <a:latin typeface="+mn-lt"/>
                <a:ea typeface="+mn-ea"/>
                <a:cs typeface="+mn-cs"/>
              </a:defRPr>
            </a:lvl6pPr>
            <a:lvl7pPr marL="1624013" indent="-223838" algn="l" rtl="0" fontAlgn="base">
              <a:spcBef>
                <a:spcPct val="20000"/>
              </a:spcBef>
              <a:spcAft>
                <a:spcPct val="0"/>
              </a:spcAft>
              <a:buClr>
                <a:schemeClr val="tx1"/>
              </a:buClr>
              <a:buFont typeface="Wingdings" charset="2"/>
              <a:buChar char="n"/>
              <a:defRPr sz="1400">
                <a:solidFill>
                  <a:schemeClr val="tx1"/>
                </a:solidFill>
                <a:latin typeface="+mn-lt"/>
                <a:ea typeface="+mn-ea"/>
                <a:cs typeface="+mn-cs"/>
              </a:defRPr>
            </a:lvl7pPr>
            <a:lvl8pPr marL="2081213" indent="-223838" algn="l" rtl="0" fontAlgn="base">
              <a:spcBef>
                <a:spcPct val="20000"/>
              </a:spcBef>
              <a:spcAft>
                <a:spcPct val="0"/>
              </a:spcAft>
              <a:buClr>
                <a:schemeClr val="tx1"/>
              </a:buClr>
              <a:buFont typeface="Wingdings" charset="2"/>
              <a:buChar char="n"/>
              <a:defRPr sz="1400">
                <a:solidFill>
                  <a:schemeClr val="tx1"/>
                </a:solidFill>
                <a:latin typeface="+mn-lt"/>
                <a:ea typeface="+mn-ea"/>
                <a:cs typeface="+mn-cs"/>
              </a:defRPr>
            </a:lvl8pPr>
            <a:lvl9pPr marL="2538413" indent="-223838" algn="l" rtl="0" fontAlgn="base">
              <a:spcBef>
                <a:spcPct val="20000"/>
              </a:spcBef>
              <a:spcAft>
                <a:spcPct val="0"/>
              </a:spcAft>
              <a:buClr>
                <a:schemeClr val="tx1"/>
              </a:buClr>
              <a:buFont typeface="Wingdings" charset="2"/>
              <a:buChar char="n"/>
              <a:defRPr sz="1400">
                <a:solidFill>
                  <a:schemeClr val="tx1"/>
                </a:solidFill>
                <a:latin typeface="+mn-lt"/>
                <a:ea typeface="+mn-ea"/>
                <a:cs typeface="+mn-cs"/>
              </a:defRPr>
            </a:lvl9pPr>
          </a:lstStyle>
          <a:p>
            <a:pPr marL="0" indent="0" defTabSz="1077441">
              <a:buNone/>
            </a:pPr>
            <a:r>
              <a:rPr lang="de-DE" sz="1213" b="1">
                <a:solidFill>
                  <a:prstClr val="black"/>
                </a:solidFill>
                <a:latin typeface="Amalia" panose="020B0504020203020204" pitchFamily="34" charset="0"/>
              </a:rPr>
              <a:t>Warnhinweise</a:t>
            </a:r>
            <a:endParaRPr lang="de-AT" sz="1213">
              <a:solidFill>
                <a:prstClr val="black"/>
              </a:solidFill>
              <a:latin typeface="Amalia" panose="020B0504020203020204" pitchFamily="34" charset="0"/>
            </a:endParaRPr>
          </a:p>
          <a:p>
            <a:pPr defTabSz="1077441"/>
            <a:r>
              <a:rPr lang="de-AT" sz="882">
                <a:solidFill>
                  <a:prstClr val="black"/>
                </a:solidFill>
                <a:latin typeface="Amalia" panose="020B0504020203020204" pitchFamily="34" charset="0"/>
              </a:rPr>
              <a:t>Die Zahlenangaben zur Wertentwicklung beziehen sich auf die Vergangenheit. Die vergangene Wertentwicklung ist kein verlässlicher Indikator für künftige Ergebnisse und Entwicklungen eines Finanzinstruments, eines Finanzindexes oder einer Wertpapierdienstleistung. Dies gilt insbesondere, falls das Finanzinstrument, der Finanzindex oder die Wertpapierdienstleistung seit weniger als 12 Monaten angeboten wird. Insbesondere ist dann dieser besonders kurze Vergleichszeitraum kein verlässlicher Indikator für künftige Ergebnisse.</a:t>
            </a:r>
          </a:p>
          <a:p>
            <a:pPr defTabSz="1077441"/>
            <a:endParaRPr lang="de-AT" sz="882">
              <a:solidFill>
                <a:prstClr val="black"/>
              </a:solidFill>
              <a:latin typeface="Amalia" panose="020B0504020203020204" pitchFamily="34" charset="0"/>
            </a:endParaRPr>
          </a:p>
          <a:p>
            <a:pPr marL="179432" indent="-179432" defTabSz="1077441">
              <a:buFont typeface="Wingdings" panose="05000000000000000000" pitchFamily="2" charset="2"/>
              <a:buChar char="§"/>
            </a:pPr>
            <a:r>
              <a:rPr lang="de-AT" sz="882">
                <a:solidFill>
                  <a:prstClr val="black"/>
                </a:solidFill>
                <a:latin typeface="Amalia" panose="020B0504020203020204" pitchFamily="34" charset="0"/>
              </a:rPr>
              <a:t>Die Wertentwicklung eines Finanzinstrumentes, eines Finanzindexes oder einer Wertpapierdienstleistung wird durch Provisionen, Gebühren und andere Entgelte reduziert, die von den individuellen Umständen des Investors abhängen.</a:t>
            </a:r>
          </a:p>
          <a:p>
            <a:pPr marL="179432" indent="-179432" defTabSz="1077441">
              <a:buFont typeface="Wingdings" panose="05000000000000000000" pitchFamily="2" charset="2"/>
              <a:buChar char="§"/>
            </a:pPr>
            <a:r>
              <a:rPr lang="de-AT" sz="882">
                <a:solidFill>
                  <a:prstClr val="black"/>
                </a:solidFill>
                <a:latin typeface="Amalia" panose="020B0504020203020204" pitchFamily="34" charset="0"/>
              </a:rPr>
              <a:t>Infolge von Währungsschwankungen kann das Veranlagungsergebnis eines Finanzinstruments sowie einer Finanz- oder Wertpapierdienstleistung steigen oder fallen.</a:t>
            </a:r>
          </a:p>
          <a:p>
            <a:pPr marL="179432" indent="-179432" defTabSz="1077441">
              <a:buFont typeface="Wingdings" panose="05000000000000000000" pitchFamily="2" charset="2"/>
              <a:buChar char="§"/>
            </a:pPr>
            <a:r>
              <a:rPr lang="de-AT" sz="882">
                <a:solidFill>
                  <a:prstClr val="black"/>
                </a:solidFill>
                <a:latin typeface="Amalia" panose="020B0504020203020204" pitchFamily="34" charset="0"/>
              </a:rPr>
              <a:t>Prognosen zu zukünftigen Entwicklungen beruhen auf reinen Schätzungen und Annahmen. Die tatsächliche zukünftige Entwicklung kann von der Prognose abweichen. Prognosen sind daher kein verlässlicher Indikator für künftige Ergebnisse und Entwicklungen eines Finanzinstruments, eines Finanzindexes oder einer Wertpapierdienstleistung. </a:t>
            </a:r>
          </a:p>
          <a:p>
            <a:pPr marL="0" indent="0" defTabSz="1077441">
              <a:buNone/>
            </a:pPr>
            <a:r>
              <a:rPr lang="de-DE" sz="882">
                <a:solidFill>
                  <a:prstClr val="black"/>
                </a:solidFill>
                <a:latin typeface="Amalia" panose="020B0504020203020204" pitchFamily="34" charset="0"/>
              </a:rPr>
              <a:t> </a:t>
            </a:r>
            <a:endParaRPr lang="de-AT" sz="882">
              <a:solidFill>
                <a:prstClr val="black"/>
              </a:solidFill>
              <a:latin typeface="Amalia" panose="020B0504020203020204" pitchFamily="34" charset="0"/>
            </a:endParaRPr>
          </a:p>
          <a:p>
            <a:pPr defTabSz="1077441"/>
            <a:r>
              <a:rPr lang="de-AT" sz="882" i="1">
                <a:solidFill>
                  <a:prstClr val="black"/>
                </a:solidFill>
                <a:latin typeface="Amalia" panose="020B0504020203020204" pitchFamily="34" charset="0"/>
              </a:rPr>
              <a:t>Die in dieser Publikation allfällig enthaltenen und als solche bezeichneten Informationen/Empfehlungen von Analysten aus Tochterbanken der RBI oder der Raiffeisen </a:t>
            </a:r>
            <a:r>
              <a:rPr lang="de-AT" sz="882" i="1" err="1">
                <a:solidFill>
                  <a:prstClr val="black"/>
                </a:solidFill>
                <a:latin typeface="Amalia" panose="020B0504020203020204" pitchFamily="34" charset="0"/>
              </a:rPr>
              <a:t>Centrobank</a:t>
            </a:r>
            <a:r>
              <a:rPr lang="de-AT" sz="882" i="1">
                <a:solidFill>
                  <a:prstClr val="black"/>
                </a:solidFill>
                <a:latin typeface="Amalia" panose="020B0504020203020204" pitchFamily="34" charset="0"/>
              </a:rPr>
              <a:t> AG („RCB“) werden unter der Verantwortung der RBI unverändert weitergegeben. </a:t>
            </a:r>
          </a:p>
          <a:p>
            <a:pPr defTabSz="1077441"/>
            <a:endParaRPr lang="de-AT" sz="882" i="1">
              <a:solidFill>
                <a:prstClr val="black"/>
              </a:solidFill>
              <a:latin typeface="Amalia" panose="020B0504020203020204" pitchFamily="34" charset="0"/>
            </a:endParaRPr>
          </a:p>
          <a:p>
            <a:pPr defTabSz="1077441"/>
            <a:r>
              <a:rPr lang="de-AT" sz="882" i="1">
                <a:solidFill>
                  <a:prstClr val="black"/>
                </a:solidFill>
                <a:latin typeface="Amalia" panose="020B0504020203020204" pitchFamily="34" charset="0"/>
              </a:rPr>
              <a:t>Eine Darstellung der Konzepte und Methoden, die bei der Erstellung von Finanzanalysen angewendet werden, ist verfügbar unter: </a:t>
            </a:r>
            <a:r>
              <a:rPr lang="de-AT" sz="882" i="1">
                <a:solidFill>
                  <a:schemeClr val="accent6">
                    <a:lumMod val="75000"/>
                  </a:schemeClr>
                </a:solidFill>
                <a:latin typeface="Amalia" panose="020B0504020203020204" pitchFamily="34" charset="0"/>
                <a:hlinkClick r:id="rId2"/>
              </a:rPr>
              <a:t>www.raiffeisenresearch.com/concept_and_methods</a:t>
            </a:r>
            <a:endParaRPr lang="de-AT" sz="882" i="1">
              <a:solidFill>
                <a:schemeClr val="accent6">
                  <a:lumMod val="75000"/>
                </a:schemeClr>
              </a:solidFill>
              <a:latin typeface="Amalia" panose="020B0504020203020204" pitchFamily="34" charset="0"/>
            </a:endParaRPr>
          </a:p>
          <a:p>
            <a:pPr defTabSz="1077441"/>
            <a:endParaRPr lang="de-AT" sz="882" i="1">
              <a:solidFill>
                <a:prstClr val="black"/>
              </a:solidFill>
              <a:latin typeface="Amalia" panose="020B0504020203020204" pitchFamily="34" charset="0"/>
            </a:endParaRPr>
          </a:p>
          <a:p>
            <a:pPr defTabSz="1077441"/>
            <a:r>
              <a:rPr lang="de-AT" sz="882" i="1">
                <a:solidFill>
                  <a:prstClr val="black"/>
                </a:solidFill>
                <a:latin typeface="Amalia" panose="020B0504020203020204" pitchFamily="34" charset="0"/>
              </a:rPr>
              <a:t>Detaillierte Information zur Sensitivitätsanalyse (Verfahren zur Prüfung der Stabilität der in Zusammenhang mit Finanzanalysen unter Umständen getätigten Annahmen) sind unter folgendem Link zu finden: </a:t>
            </a:r>
            <a:r>
              <a:rPr lang="de-AT" sz="882" i="1">
                <a:solidFill>
                  <a:schemeClr val="accent6">
                    <a:lumMod val="75000"/>
                  </a:schemeClr>
                </a:solidFill>
                <a:latin typeface="Amalia" panose="020B0504020203020204" pitchFamily="34" charset="0"/>
                <a:hlinkClick r:id="rId3"/>
              </a:rPr>
              <a:t>www.raiffeisenresearch.com/sensitivity_analysis</a:t>
            </a:r>
            <a:endParaRPr lang="de-AT" sz="882" i="1">
              <a:solidFill>
                <a:schemeClr val="accent6">
                  <a:lumMod val="75000"/>
                </a:schemeClr>
              </a:solidFill>
              <a:latin typeface="Amalia" panose="020B0504020203020204" pitchFamily="34" charset="0"/>
            </a:endParaRPr>
          </a:p>
          <a:p>
            <a:pPr defTabSz="1077441"/>
            <a:endParaRPr lang="de-AT" sz="882" i="1">
              <a:latin typeface="Amalia" panose="020B0504020203020204" pitchFamily="34" charset="0"/>
            </a:endParaRPr>
          </a:p>
          <a:p>
            <a:pPr defTabSz="1077441"/>
            <a:r>
              <a:rPr lang="de-AT" sz="882" i="1">
                <a:latin typeface="Amalia" panose="020B0504020203020204" pitchFamily="34" charset="0"/>
              </a:rPr>
              <a:t>Offenlegung von Umständen und Interessen, die die Objektivität der RBI gefährden könnten: </a:t>
            </a:r>
            <a:r>
              <a:rPr lang="de-AT" sz="882" i="1">
                <a:solidFill>
                  <a:schemeClr val="accent6">
                    <a:lumMod val="75000"/>
                  </a:schemeClr>
                </a:solidFill>
                <a:latin typeface="Amalia" panose="020B0504020203020204" pitchFamily="34" charset="0"/>
                <a:hlinkClick r:id="rId4"/>
              </a:rPr>
              <a:t>www.raiffeisenresearch.com/disclosuresobjectivity</a:t>
            </a:r>
            <a:endParaRPr lang="de-AT" sz="882" i="1">
              <a:solidFill>
                <a:prstClr val="black"/>
              </a:solidFill>
              <a:latin typeface="Amalia" panose="020B0504020203020204" pitchFamily="34" charset="0"/>
            </a:endParaRPr>
          </a:p>
        </p:txBody>
      </p:sp>
      <p:sp>
        <p:nvSpPr>
          <p:cNvPr id="13" name="Titel 5">
            <a:extLst>
              <a:ext uri="{FF2B5EF4-FFF2-40B4-BE49-F238E27FC236}">
                <a16:creationId xmlns:a16="http://schemas.microsoft.com/office/drawing/2014/main" id="{70CB52AD-1F36-4530-B6C7-C52945AEA388}"/>
              </a:ext>
            </a:extLst>
          </p:cNvPr>
          <p:cNvSpPr txBox="1">
            <a:spLocks/>
          </p:cNvSpPr>
          <p:nvPr/>
        </p:nvSpPr>
        <p:spPr bwMode="gray">
          <a:xfrm>
            <a:off x="549944" y="370390"/>
            <a:ext cx="12259593" cy="85272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de-DE" sz="2400" b="1">
                <a:latin typeface="Amalia" panose="020B0504020203020204" pitchFamily="34" charset="0"/>
              </a:rPr>
              <a:t>Risikohinweise und Aufklärungen</a:t>
            </a:r>
            <a:endParaRPr lang="en-GB" sz="2400" b="1">
              <a:solidFill>
                <a:prstClr val="black"/>
              </a:solidFill>
              <a:latin typeface="Amalia" panose="020B0504020203020204" pitchFamily="34" charset="0"/>
            </a:endParaRPr>
          </a:p>
        </p:txBody>
      </p:sp>
      <p:graphicFrame>
        <p:nvGraphicFramePr>
          <p:cNvPr id="30" name="Tabelle 6">
            <a:extLst>
              <a:ext uri="{FF2B5EF4-FFF2-40B4-BE49-F238E27FC236}">
                <a16:creationId xmlns:a16="http://schemas.microsoft.com/office/drawing/2014/main" id="{5A10EE5A-20F3-4818-9CA8-AAE628F93C72}"/>
              </a:ext>
            </a:extLst>
          </p:cNvPr>
          <p:cNvGraphicFramePr>
            <a:graphicFrameLocks noGrp="1"/>
          </p:cNvGraphicFramePr>
          <p:nvPr>
            <p:extLst>
              <p:ext uri="{D42A27DB-BD31-4B8C-83A1-F6EECF244321}">
                <p14:modId xmlns:p14="http://schemas.microsoft.com/office/powerpoint/2010/main" val="3243449269"/>
              </p:ext>
            </p:extLst>
          </p:nvPr>
        </p:nvGraphicFramePr>
        <p:xfrm>
          <a:off x="7129542" y="1417638"/>
          <a:ext cx="5824725" cy="4301003"/>
        </p:xfrm>
        <a:graphic>
          <a:graphicData uri="http://schemas.openxmlformats.org/drawingml/2006/table">
            <a:tbl>
              <a:tblPr firstRow="1" bandRow="1">
                <a:tableStyleId>{7DF18680-E054-41AD-8BC1-D1AEF772440D}</a:tableStyleId>
              </a:tblPr>
              <a:tblGrid>
                <a:gridCol w="1497787">
                  <a:extLst>
                    <a:ext uri="{9D8B030D-6E8A-4147-A177-3AD203B41FA5}">
                      <a16:colId xmlns:a16="http://schemas.microsoft.com/office/drawing/2014/main" val="20000"/>
                    </a:ext>
                  </a:extLst>
                </a:gridCol>
                <a:gridCol w="1977609">
                  <a:extLst>
                    <a:ext uri="{9D8B030D-6E8A-4147-A177-3AD203B41FA5}">
                      <a16:colId xmlns:a16="http://schemas.microsoft.com/office/drawing/2014/main" val="20001"/>
                    </a:ext>
                  </a:extLst>
                </a:gridCol>
                <a:gridCol w="2349329">
                  <a:extLst>
                    <a:ext uri="{9D8B030D-6E8A-4147-A177-3AD203B41FA5}">
                      <a16:colId xmlns:a16="http://schemas.microsoft.com/office/drawing/2014/main" val="20002"/>
                    </a:ext>
                  </a:extLst>
                </a:gridCol>
              </a:tblGrid>
              <a:tr h="1314850">
                <a:tc gridSpan="3">
                  <a:txBody>
                    <a:bodyPr/>
                    <a:lstStyle/>
                    <a:p>
                      <a:pPr marL="88900" marR="0" indent="0" algn="l" defTabSz="937186" rtl="0" eaLnBrk="1" fontAlgn="auto" latinLnBrk="0" hangingPunct="1">
                        <a:lnSpc>
                          <a:spcPct val="100000"/>
                        </a:lnSpc>
                        <a:spcBef>
                          <a:spcPts val="0"/>
                        </a:spcBef>
                        <a:spcAft>
                          <a:spcPts val="0"/>
                        </a:spcAft>
                        <a:buClrTx/>
                        <a:buSzTx/>
                        <a:buFontTx/>
                        <a:buNone/>
                        <a:tabLst/>
                        <a:defRPr/>
                      </a:pPr>
                      <a:r>
                        <a:rPr lang="de-AT" sz="1500" u="none" strike="noStrike" kern="1200" baseline="30000">
                          <a:latin typeface="Amalia" panose="020B0504020203020204" pitchFamily="34" charset="0"/>
                        </a:rPr>
                        <a:t>Verteilung aller Empfehlungen für die dem Erstellungsdatum der Publikation vorhergehenden 12 Monate (Spalte A) sowie die Verteilung der Empfehlungen, in deren Zusammenhang in den letzten 12 Monaten Wertpapierdienstleistungen gemäß Anhang I Abschnitte A (Wertpapierdienstleistungen und Anlagetätigkeiten) und B (</a:t>
                      </a:r>
                      <a:r>
                        <a:rPr lang="de-AT" sz="1800" u="none" strike="noStrike" kern="1200" baseline="30000">
                          <a:latin typeface="Amalia" panose="020B0504020203020204" pitchFamily="34" charset="0"/>
                        </a:rPr>
                        <a:t>Nebendienstleistungen</a:t>
                      </a:r>
                      <a:r>
                        <a:rPr lang="de-AT" sz="1500" u="none" strike="noStrike" kern="1200" baseline="30000">
                          <a:latin typeface="Amalia" panose="020B0504020203020204" pitchFamily="34" charset="0"/>
                        </a:rPr>
                        <a:t>) der Richtlinie 2014/65/EU des Europäischen Parlaments und des Rates („Spezielle Dienstleistungen”) erbracht wurden (Spalte B).</a:t>
                      </a:r>
                      <a:endParaRPr lang="de-AT" sz="1500" b="1" i="0" u="none" strike="noStrike" kern="1200" baseline="30000">
                        <a:solidFill>
                          <a:schemeClr val="lt1"/>
                        </a:solidFill>
                        <a:latin typeface="Amalia" panose="020B0504020203020204" pitchFamily="34" charset="0"/>
                        <a:ea typeface="+mn-ea"/>
                        <a:cs typeface="+mn-cs"/>
                      </a:endParaRPr>
                    </a:p>
                  </a:txBody>
                  <a:tcPr marT="108000" anchor="ctr"/>
                </a:tc>
                <a:tc hMerge="1">
                  <a:txBody>
                    <a:bodyPr/>
                    <a:lstStyle/>
                    <a:p>
                      <a:endParaRPr lang="de-AT"/>
                    </a:p>
                  </a:txBody>
                  <a:tcPr/>
                </a:tc>
                <a:tc hMerge="1">
                  <a:txBody>
                    <a:bodyPr/>
                    <a:lstStyle/>
                    <a:p>
                      <a:endParaRPr lang="de-AT"/>
                    </a:p>
                  </a:txBody>
                  <a:tcPr/>
                </a:tc>
                <a:extLst>
                  <a:ext uri="{0D108BD9-81ED-4DB2-BD59-A6C34878D82A}">
                    <a16:rowId xmlns:a16="http://schemas.microsoft.com/office/drawing/2014/main" val="10000"/>
                  </a:ext>
                </a:extLst>
              </a:tr>
              <a:tr h="1271621">
                <a:tc>
                  <a:txBody>
                    <a:bodyPr/>
                    <a:lstStyle/>
                    <a:p>
                      <a:pPr>
                        <a:lnSpc>
                          <a:spcPct val="120000"/>
                        </a:lnSpc>
                        <a:spcAft>
                          <a:spcPts val="0"/>
                        </a:spcAft>
                      </a:pPr>
                      <a:r>
                        <a:rPr lang="de-DE" sz="1100">
                          <a:effectLst/>
                          <a:latin typeface="Amalia" panose="020B0504020203020204" pitchFamily="34" charset="0"/>
                        </a:rPr>
                        <a:t>Anlageempfehlung</a:t>
                      </a:r>
                      <a:endParaRPr lang="en-GB" sz="1100" b="1">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900">
                          <a:effectLst/>
                          <a:latin typeface="Amalia" panose="020B0504020203020204" pitchFamily="34" charset="0"/>
                        </a:rPr>
                        <a:t>Spalte A</a:t>
                      </a:r>
                      <a:endParaRPr lang="en-GB" sz="900">
                        <a:effectLst/>
                        <a:latin typeface="Amalia" panose="020B0504020203020204" pitchFamily="34" charset="0"/>
                      </a:endParaRPr>
                    </a:p>
                    <a:p>
                      <a:pPr algn="ctr">
                        <a:lnSpc>
                          <a:spcPct val="120000"/>
                        </a:lnSpc>
                        <a:spcAft>
                          <a:spcPts val="0"/>
                        </a:spcAft>
                      </a:pPr>
                      <a:r>
                        <a:rPr lang="de-DE" sz="900">
                          <a:effectLst/>
                          <a:latin typeface="Amalia" panose="020B0504020203020204" pitchFamily="34" charset="0"/>
                        </a:rPr>
                        <a:t>Basis: Alle Empfehlungen aller Finanzinstrumente </a:t>
                      </a:r>
                      <a:br>
                        <a:rPr lang="de-DE" sz="900">
                          <a:effectLst/>
                          <a:latin typeface="Amalia" panose="020B0504020203020204" pitchFamily="34" charset="0"/>
                        </a:rPr>
                      </a:br>
                      <a:r>
                        <a:rPr lang="de-DE" sz="900">
                          <a:effectLst/>
                          <a:latin typeface="Amalia" panose="020B0504020203020204" pitchFamily="34" charset="0"/>
                        </a:rPr>
                        <a:t>(vorhergehende 12 Monate)</a:t>
                      </a:r>
                      <a:endParaRPr lang="en-GB" sz="900" b="1">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900">
                          <a:effectLst/>
                          <a:latin typeface="Amalia" panose="020B0504020203020204" pitchFamily="34" charset="0"/>
                        </a:rPr>
                        <a:t>Spalte B</a:t>
                      </a:r>
                      <a:endParaRPr lang="en-GB" sz="900">
                        <a:effectLst/>
                        <a:latin typeface="Amalia" panose="020B0504020203020204" pitchFamily="34" charset="0"/>
                      </a:endParaRPr>
                    </a:p>
                    <a:p>
                      <a:pPr algn="ctr">
                        <a:lnSpc>
                          <a:spcPct val="120000"/>
                        </a:lnSpc>
                        <a:spcAft>
                          <a:spcPts val="0"/>
                        </a:spcAft>
                      </a:pPr>
                      <a:r>
                        <a:rPr lang="de-DE" sz="900">
                          <a:effectLst/>
                          <a:latin typeface="Amalia" panose="020B0504020203020204" pitchFamily="34" charset="0"/>
                        </a:rPr>
                        <a:t>Basis: Empfehlungen von Finanzinstrumenten aller Emittenten, für die in den letzten 12 Monaten „Spezielle Dienstleistungen” erbracht wurden</a:t>
                      </a:r>
                      <a:endParaRPr lang="en-GB" sz="900" b="1">
                        <a:solidFill>
                          <a:srgbClr val="000000"/>
                        </a:solidFill>
                        <a:effectLst/>
                        <a:latin typeface="Amalia" panose="020B0504020203020204" pitchFamily="34" charset="0"/>
                        <a:ea typeface="Calibri"/>
                        <a:cs typeface="Futura CE Book"/>
                      </a:endParaRPr>
                    </a:p>
                  </a:txBody>
                  <a:tcPr marL="39211" marR="39211" marT="25400" marB="25400" anchor="ctr"/>
                </a:tc>
                <a:extLst>
                  <a:ext uri="{0D108BD9-81ED-4DB2-BD59-A6C34878D82A}">
                    <a16:rowId xmlns:a16="http://schemas.microsoft.com/office/drawing/2014/main" val="10001"/>
                  </a:ext>
                </a:extLst>
              </a:tr>
              <a:tr h="394486">
                <a:tc>
                  <a:txBody>
                    <a:bodyPr/>
                    <a:lstStyle/>
                    <a:p>
                      <a:pPr>
                        <a:lnSpc>
                          <a:spcPct val="120000"/>
                        </a:lnSpc>
                        <a:spcAft>
                          <a:spcPts val="0"/>
                        </a:spcAft>
                      </a:pPr>
                      <a:r>
                        <a:rPr lang="de-DE" sz="1100">
                          <a:effectLst/>
                          <a:latin typeface="Amalia" panose="020B0504020203020204" pitchFamily="34" charset="0"/>
                        </a:rPr>
                        <a:t>Kauf-Empfehlungen</a:t>
                      </a:r>
                      <a:endParaRPr lang="en-GB" sz="1100">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1200" dirty="0">
                          <a:solidFill>
                            <a:srgbClr val="000000"/>
                          </a:solidFill>
                          <a:effectLst/>
                          <a:latin typeface="Amalia" panose="020B0504020203020204" pitchFamily="34" charset="0"/>
                          <a:ea typeface="Calibri"/>
                          <a:cs typeface="Futura CE Book"/>
                        </a:rPr>
                        <a:t>53,0 %</a:t>
                      </a:r>
                      <a:endParaRPr lang="en-GB" sz="1200" dirty="0">
                        <a:solidFill>
                          <a:srgbClr val="000000"/>
                        </a:solidFill>
                        <a:effectLst/>
                        <a:latin typeface="Amalia" panose="020B0504020203020204" pitchFamily="34" charset="0"/>
                        <a:ea typeface="Calibri"/>
                        <a:cs typeface="Futura CE Book"/>
                      </a:endParaRPr>
                    </a:p>
                  </a:txBody>
                  <a:tcPr marL="32829" marR="32829" marT="24622" marB="24622" anchor="ctr"/>
                </a:tc>
                <a:tc>
                  <a:txBody>
                    <a:bodyPr/>
                    <a:lstStyle/>
                    <a:p>
                      <a:pPr algn="ctr">
                        <a:lnSpc>
                          <a:spcPct val="120000"/>
                        </a:lnSpc>
                        <a:spcAft>
                          <a:spcPts val="0"/>
                        </a:spcAft>
                      </a:pPr>
                      <a:r>
                        <a:rPr lang="de-DE" sz="1200" dirty="0">
                          <a:solidFill>
                            <a:srgbClr val="000000"/>
                          </a:solidFill>
                          <a:effectLst/>
                          <a:latin typeface="Amalia" panose="020B0504020203020204" pitchFamily="34" charset="0"/>
                          <a:ea typeface="Calibri"/>
                          <a:cs typeface="Futura CE Book"/>
                        </a:rPr>
                        <a:t>56,5 %</a:t>
                      </a:r>
                      <a:endParaRPr lang="en-GB" sz="1200" dirty="0">
                        <a:solidFill>
                          <a:srgbClr val="000000"/>
                        </a:solidFill>
                        <a:effectLst/>
                        <a:latin typeface="Amalia" panose="020B0504020203020204" pitchFamily="34" charset="0"/>
                        <a:ea typeface="Calibri"/>
                        <a:cs typeface="Futura CE Book"/>
                      </a:endParaRPr>
                    </a:p>
                  </a:txBody>
                  <a:tcPr marL="32829" marR="32829" marT="24622" marB="24622" anchor="ctr"/>
                </a:tc>
                <a:extLst>
                  <a:ext uri="{0D108BD9-81ED-4DB2-BD59-A6C34878D82A}">
                    <a16:rowId xmlns:a16="http://schemas.microsoft.com/office/drawing/2014/main" val="10002"/>
                  </a:ext>
                </a:extLst>
              </a:tr>
              <a:tr h="660023">
                <a:tc>
                  <a:txBody>
                    <a:bodyPr/>
                    <a:lstStyle/>
                    <a:p>
                      <a:pPr>
                        <a:lnSpc>
                          <a:spcPct val="120000"/>
                        </a:lnSpc>
                        <a:spcAft>
                          <a:spcPts val="0"/>
                        </a:spcAft>
                      </a:pPr>
                      <a:r>
                        <a:rPr lang="de-DE" sz="1100">
                          <a:effectLst/>
                          <a:latin typeface="Amalia" panose="020B0504020203020204" pitchFamily="34" charset="0"/>
                        </a:rPr>
                        <a:t>Halten-Empfehlungen</a:t>
                      </a:r>
                      <a:endParaRPr lang="en-GB" sz="1100">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1200" dirty="0">
                          <a:solidFill>
                            <a:srgbClr val="000000"/>
                          </a:solidFill>
                          <a:effectLst/>
                          <a:latin typeface="Amalia" panose="020B0504020203020204" pitchFamily="34" charset="0"/>
                          <a:ea typeface="Calibri"/>
                          <a:cs typeface="Futura CE Book"/>
                        </a:rPr>
                        <a:t>29,2 %</a:t>
                      </a:r>
                      <a:endParaRPr lang="en-GB" sz="1200" dirty="0">
                        <a:solidFill>
                          <a:srgbClr val="000000"/>
                        </a:solidFill>
                        <a:effectLst/>
                        <a:latin typeface="Amalia" panose="020B0504020203020204" pitchFamily="34" charset="0"/>
                        <a:ea typeface="Calibri"/>
                        <a:cs typeface="Futura CE Book"/>
                      </a:endParaRPr>
                    </a:p>
                  </a:txBody>
                  <a:tcPr marL="32829" marR="32829" marT="24622" marB="24622" anchor="ctr"/>
                </a:tc>
                <a:tc>
                  <a:txBody>
                    <a:bodyPr/>
                    <a:lstStyle/>
                    <a:p>
                      <a:pPr algn="ctr">
                        <a:lnSpc>
                          <a:spcPct val="120000"/>
                        </a:lnSpc>
                        <a:spcAft>
                          <a:spcPts val="0"/>
                        </a:spcAft>
                      </a:pPr>
                      <a:r>
                        <a:rPr lang="de-DE" sz="1200" dirty="0">
                          <a:solidFill>
                            <a:srgbClr val="000000"/>
                          </a:solidFill>
                          <a:effectLst/>
                          <a:latin typeface="Amalia" panose="020B0504020203020204" pitchFamily="34" charset="0"/>
                          <a:ea typeface="Calibri"/>
                          <a:cs typeface="Futura CE Book"/>
                        </a:rPr>
                        <a:t>26,1 %</a:t>
                      </a:r>
                      <a:endParaRPr lang="en-GB" sz="1200" dirty="0">
                        <a:solidFill>
                          <a:srgbClr val="000000"/>
                        </a:solidFill>
                        <a:effectLst/>
                        <a:latin typeface="Amalia" panose="020B0504020203020204" pitchFamily="34" charset="0"/>
                        <a:ea typeface="Calibri"/>
                        <a:cs typeface="Futura CE Book"/>
                      </a:endParaRPr>
                    </a:p>
                  </a:txBody>
                  <a:tcPr marL="32829" marR="32829" marT="24622" marB="24622" anchor="ctr"/>
                </a:tc>
                <a:extLst>
                  <a:ext uri="{0D108BD9-81ED-4DB2-BD59-A6C34878D82A}">
                    <a16:rowId xmlns:a16="http://schemas.microsoft.com/office/drawing/2014/main" val="10003"/>
                  </a:ext>
                </a:extLst>
              </a:tr>
              <a:tr h="660023">
                <a:tc>
                  <a:txBody>
                    <a:bodyPr/>
                    <a:lstStyle/>
                    <a:p>
                      <a:pPr>
                        <a:lnSpc>
                          <a:spcPct val="120000"/>
                        </a:lnSpc>
                        <a:spcAft>
                          <a:spcPts val="0"/>
                        </a:spcAft>
                      </a:pPr>
                      <a:r>
                        <a:rPr lang="de-DE" sz="1100">
                          <a:effectLst/>
                          <a:latin typeface="Amalia" panose="020B0504020203020204" pitchFamily="34" charset="0"/>
                        </a:rPr>
                        <a:t>Verkaufs-Empfehlungen</a:t>
                      </a:r>
                      <a:endParaRPr lang="en-GB" sz="1100">
                        <a:solidFill>
                          <a:srgbClr val="000000"/>
                        </a:solidFill>
                        <a:effectLst/>
                        <a:latin typeface="Amalia" panose="020B0504020203020204" pitchFamily="34" charset="0"/>
                        <a:ea typeface="Calibri"/>
                        <a:cs typeface="Futura CE Book"/>
                      </a:endParaRPr>
                    </a:p>
                  </a:txBody>
                  <a:tcPr marL="39211" marR="39211" marT="25400" marB="25400" anchor="ctr"/>
                </a:tc>
                <a:tc>
                  <a:txBody>
                    <a:bodyPr/>
                    <a:lstStyle/>
                    <a:p>
                      <a:pPr algn="ctr">
                        <a:lnSpc>
                          <a:spcPct val="120000"/>
                        </a:lnSpc>
                        <a:spcAft>
                          <a:spcPts val="0"/>
                        </a:spcAft>
                      </a:pPr>
                      <a:r>
                        <a:rPr lang="de-DE" sz="1200" dirty="0">
                          <a:solidFill>
                            <a:srgbClr val="000000"/>
                          </a:solidFill>
                          <a:effectLst/>
                          <a:latin typeface="Amalia" panose="020B0504020203020204" pitchFamily="34" charset="0"/>
                          <a:ea typeface="Calibri"/>
                          <a:cs typeface="Futura CE Book"/>
                        </a:rPr>
                        <a:t>17,8 %</a:t>
                      </a:r>
                      <a:endParaRPr lang="en-GB" sz="1200" dirty="0">
                        <a:solidFill>
                          <a:srgbClr val="000000"/>
                        </a:solidFill>
                        <a:effectLst/>
                        <a:latin typeface="Amalia" panose="020B0504020203020204" pitchFamily="34" charset="0"/>
                        <a:ea typeface="Calibri"/>
                        <a:cs typeface="Futura CE Book"/>
                      </a:endParaRPr>
                    </a:p>
                  </a:txBody>
                  <a:tcPr marL="32829" marR="32829" marT="24622" marB="24622" anchor="ctr"/>
                </a:tc>
                <a:tc>
                  <a:txBody>
                    <a:bodyPr/>
                    <a:lstStyle/>
                    <a:p>
                      <a:pPr algn="ctr">
                        <a:lnSpc>
                          <a:spcPct val="120000"/>
                        </a:lnSpc>
                        <a:spcAft>
                          <a:spcPts val="0"/>
                        </a:spcAft>
                      </a:pPr>
                      <a:r>
                        <a:rPr lang="de-DE" sz="1200" dirty="0">
                          <a:solidFill>
                            <a:srgbClr val="000000"/>
                          </a:solidFill>
                          <a:effectLst/>
                          <a:latin typeface="Amalia" panose="020B0504020203020204" pitchFamily="34" charset="0"/>
                          <a:ea typeface="Calibri"/>
                          <a:cs typeface="Futura CE Book"/>
                        </a:rPr>
                        <a:t>17,4 %</a:t>
                      </a:r>
                      <a:endParaRPr lang="en-GB" sz="1200" dirty="0">
                        <a:solidFill>
                          <a:srgbClr val="000000"/>
                        </a:solidFill>
                        <a:effectLst/>
                        <a:latin typeface="Amalia" panose="020B0504020203020204" pitchFamily="34" charset="0"/>
                        <a:ea typeface="Calibri"/>
                        <a:cs typeface="Futura CE Book"/>
                      </a:endParaRPr>
                    </a:p>
                  </a:txBody>
                  <a:tcPr marL="32829" marR="32829" marT="24622" marB="24622" anchor="ctr"/>
                </a:tc>
                <a:extLst>
                  <a:ext uri="{0D108BD9-81ED-4DB2-BD59-A6C34878D82A}">
                    <a16:rowId xmlns:a16="http://schemas.microsoft.com/office/drawing/2014/main" val="10004"/>
                  </a:ext>
                </a:extLst>
              </a:tr>
            </a:tbl>
          </a:graphicData>
        </a:graphic>
      </p:graphicFrame>
      <p:sp>
        <p:nvSpPr>
          <p:cNvPr id="3" name="Rectangle 2">
            <a:extLst>
              <a:ext uri="{FF2B5EF4-FFF2-40B4-BE49-F238E27FC236}">
                <a16:creationId xmlns:a16="http://schemas.microsoft.com/office/drawing/2014/main" id="{22BAA7EC-F35C-49DC-B496-7EDBAEBDB494}"/>
              </a:ext>
            </a:extLst>
          </p:cNvPr>
          <p:cNvSpPr/>
          <p:nvPr/>
        </p:nvSpPr>
        <p:spPr>
          <a:xfrm>
            <a:off x="7043815" y="6065958"/>
            <a:ext cx="5910452" cy="771237"/>
          </a:xfrm>
          <a:prstGeom prst="rect">
            <a:avLst/>
          </a:prstGeom>
        </p:spPr>
        <p:txBody>
          <a:bodyPr wrap="square">
            <a:spAutoFit/>
          </a:bodyPr>
          <a:lstStyle/>
          <a:p>
            <a:r>
              <a:rPr lang="de-AT" sz="1103">
                <a:latin typeface="Amalia" panose="020B0504020203020204" pitchFamily="34" charset="0"/>
              </a:rPr>
              <a:t>Detaillierte Informationen zu Empfehlungen der dieser Publikation unmittelbar vorausgehenden 12 Monate zu Finanzinstrumenten und Emittenten (gem. Art. 4 (1) i) Delegierte Verordnung (EU) 2016/958 vom 9. März 2016) sind verfügbar unter</a:t>
            </a:r>
            <a:r>
              <a:rPr lang="de-AT" sz="1103" baseline="30000">
                <a:latin typeface="Amalia" panose="020B0504020203020204" pitchFamily="34" charset="0"/>
              </a:rPr>
              <a:t>: </a:t>
            </a:r>
            <a:r>
              <a:rPr lang="de-AT" sz="1103" i="1" u="sng">
                <a:latin typeface="Amalia" panose="020B0504020203020204" pitchFamily="34" charset="0"/>
                <a:hlinkClick r:id="rId5"/>
              </a:rPr>
              <a:t>https://raiffeisenresearch.com/web/rbi-research-portal/recommendation_history</a:t>
            </a:r>
            <a:endParaRPr lang="de-AT" sz="1103">
              <a:latin typeface="Amalia" panose="020B0504020203020204" pitchFamily="34" charset="0"/>
            </a:endParaRPr>
          </a:p>
        </p:txBody>
      </p:sp>
    </p:spTree>
    <p:extLst>
      <p:ext uri="{BB962C8B-B14F-4D97-AF65-F5344CB8AC3E}">
        <p14:creationId xmlns:p14="http://schemas.microsoft.com/office/powerpoint/2010/main" val="36888679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882" name="Rectangle 2"/>
          <p:cNvSpPr>
            <a:spLocks noGrp="1"/>
          </p:cNvSpPr>
          <p:nvPr>
            <p:ph type="title"/>
          </p:nvPr>
        </p:nvSpPr>
        <p:spPr>
          <a:xfrm>
            <a:off x="634629" y="501438"/>
            <a:ext cx="10546210" cy="373750"/>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solidFill>
                  <a:prstClr val="black"/>
                </a:solidFill>
              </a:rPr>
              <a:t>Disclaimer Finanzanalyse</a:t>
            </a:r>
            <a:endParaRPr lang="de-AT" sz="2400"/>
          </a:p>
        </p:txBody>
      </p:sp>
      <p:sp>
        <p:nvSpPr>
          <p:cNvPr id="5754883" name="Text Box 3"/>
          <p:cNvSpPr txBox="1">
            <a:spLocks noChangeArrowheads="1"/>
          </p:cNvSpPr>
          <p:nvPr/>
        </p:nvSpPr>
        <p:spPr bwMode="auto">
          <a:xfrm>
            <a:off x="1765884" y="2206545"/>
            <a:ext cx="9919147" cy="2188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15481" tIns="57744" rIns="115481" bIns="57744">
            <a:spAutoFit/>
          </a:bodyPr>
          <a:lstStyle/>
          <a:p>
            <a:pPr algn="ctr" eaLnBrk="0" hangingPunct="0">
              <a:spcBef>
                <a:spcPct val="0"/>
              </a:spcBef>
              <a:spcAft>
                <a:spcPct val="0"/>
              </a:spcAft>
              <a:buFontTx/>
              <a:buNone/>
            </a:pPr>
            <a:endParaRPr lang="de-AT" sz="3945"/>
          </a:p>
          <a:p>
            <a:pPr algn="ctr" eaLnBrk="0" hangingPunct="0">
              <a:spcBef>
                <a:spcPct val="0"/>
              </a:spcBef>
              <a:spcAft>
                <a:spcPct val="0"/>
              </a:spcAft>
              <a:buFontTx/>
              <a:buNone/>
            </a:pPr>
            <a:endParaRPr lang="en-GB" sz="2553"/>
          </a:p>
          <a:p>
            <a:pPr algn="ctr" eaLnBrk="0" hangingPunct="0">
              <a:spcBef>
                <a:spcPct val="0"/>
              </a:spcBef>
              <a:spcAft>
                <a:spcPct val="0"/>
              </a:spcAft>
              <a:buFontTx/>
              <a:buNone/>
            </a:pPr>
            <a:endParaRPr lang="en-GB" sz="3365"/>
          </a:p>
          <a:p>
            <a:pPr algn="ctr" eaLnBrk="0" hangingPunct="0">
              <a:spcBef>
                <a:spcPct val="0"/>
              </a:spcBef>
              <a:spcAft>
                <a:spcPct val="0"/>
              </a:spcAft>
              <a:buFontTx/>
              <a:buNone/>
            </a:pPr>
            <a:endParaRPr lang="en-GB" sz="3599"/>
          </a:p>
        </p:txBody>
      </p:sp>
      <p:sp>
        <p:nvSpPr>
          <p:cNvPr id="5754884" name="Text Box 4"/>
          <p:cNvSpPr txBox="1">
            <a:spLocks noChangeArrowheads="1"/>
          </p:cNvSpPr>
          <p:nvPr/>
        </p:nvSpPr>
        <p:spPr bwMode="auto">
          <a:xfrm>
            <a:off x="524099" y="1202114"/>
            <a:ext cx="12374500" cy="384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algn="just" defTabSz="1169755"/>
            <a:r>
              <a:rPr lang="de-AT" sz="1100">
                <a:solidFill>
                  <a:prstClr val="black"/>
                </a:solidFill>
                <a:latin typeface="Amalia" panose="020B0504020203020204" pitchFamily="34" charset="0"/>
              </a:rPr>
              <a:t>Für die Erstellung dieser Publikation verantwortlich: Raiffeisen Bank International AG („RBI“)</a:t>
            </a:r>
          </a:p>
          <a:p>
            <a:pPr algn="just" defTabSz="1169755"/>
            <a:r>
              <a:rPr lang="de-AT" sz="1100">
                <a:solidFill>
                  <a:prstClr val="black"/>
                </a:solidFill>
                <a:latin typeface="Amalia" panose="020B0504020203020204" pitchFamily="34" charset="0"/>
              </a:rPr>
              <a:t>Die RBI ist ein Kreditinstitut gemäß § 1 Bankwesengesetz (BWG) mit dem Firmensitz Am Stadtpark 9, 1030 Wien, Österreich.</a:t>
            </a:r>
          </a:p>
          <a:p>
            <a:pPr algn="just" defTabSz="1169755"/>
            <a:r>
              <a:rPr lang="de-AT" sz="1100">
                <a:solidFill>
                  <a:prstClr val="black"/>
                </a:solidFill>
                <a:latin typeface="Amalia" panose="020B0504020203020204" pitchFamily="34" charset="0"/>
              </a:rPr>
              <a:t>Raiffeisen Research ist eine Organisationseinheit der RBI.</a:t>
            </a:r>
          </a:p>
          <a:p>
            <a:pPr algn="just" defTabSz="1169755"/>
            <a:r>
              <a:rPr lang="de-AT" sz="1100">
                <a:solidFill>
                  <a:prstClr val="black"/>
                </a:solidFill>
                <a:latin typeface="Amalia" panose="020B0504020203020204" pitchFamily="34" charset="0"/>
              </a:rPr>
              <a:t>Zuständige Aufsichtsbehörde: Als ein Kreditinstitut gemäß § 1 Bankwesengesetz (BWG) unterliegt die Raiffeisen Bank International AG („RBI“) der Aufsicht der Finanzmarktaufsicht (FMA) und der </a:t>
            </a:r>
            <a:r>
              <a:rPr lang="de-AT" sz="1100" err="1">
                <a:solidFill>
                  <a:prstClr val="black"/>
                </a:solidFill>
                <a:latin typeface="Amalia" panose="020B0504020203020204" pitchFamily="34" charset="0"/>
              </a:rPr>
              <a:t>Oesterreichischen</a:t>
            </a:r>
            <a:r>
              <a:rPr lang="de-AT" sz="1100">
                <a:solidFill>
                  <a:prstClr val="black"/>
                </a:solidFill>
                <a:latin typeface="Amalia" panose="020B0504020203020204" pitchFamily="34" charset="0"/>
              </a:rPr>
              <a:t> Nationalbank. Darüber hinaus unterliegt die RBI der behördlichen Aufsicht der Europäischen Zentralbank (EZB), die diese innerhalb eines Einheitlichen Aufsichtsmechanismus (Single </a:t>
            </a:r>
            <a:r>
              <a:rPr lang="de-AT" sz="1100" err="1">
                <a:solidFill>
                  <a:prstClr val="black"/>
                </a:solidFill>
                <a:latin typeface="Amalia" panose="020B0504020203020204" pitchFamily="34" charset="0"/>
              </a:rPr>
              <a:t>Supervisory</a:t>
            </a:r>
            <a:r>
              <a:rPr lang="de-AT" sz="1100">
                <a:solidFill>
                  <a:prstClr val="black"/>
                </a:solidFill>
                <a:latin typeface="Amalia" panose="020B0504020203020204" pitchFamily="34" charset="0"/>
              </a:rPr>
              <a:t> </a:t>
            </a:r>
            <a:r>
              <a:rPr lang="de-AT" sz="1100" err="1">
                <a:solidFill>
                  <a:prstClr val="black"/>
                </a:solidFill>
                <a:latin typeface="Amalia" panose="020B0504020203020204" pitchFamily="34" charset="0"/>
              </a:rPr>
              <a:t>Mechanism</a:t>
            </a:r>
            <a:r>
              <a:rPr lang="de-AT" sz="1100">
                <a:solidFill>
                  <a:prstClr val="black"/>
                </a:solidFill>
                <a:latin typeface="Amalia" panose="020B0504020203020204" pitchFamily="34" charset="0"/>
              </a:rPr>
              <a:t> – SSM) wahrnimmt, der aus der EZB und den nationalen zuständigen Behörden besteht (Verordnung (EU) Nr. 1024/2013 des Rates – SSM-Verordnung). Verweise auf gesetzliche Normen beziehen sich auf solche der Republik Österreich, soweit nicht ausdrücklich anders angeführt.</a:t>
            </a:r>
          </a:p>
          <a:p>
            <a:pPr algn="just" defTabSz="1169755"/>
            <a:r>
              <a:rPr lang="de-AT" sz="1100">
                <a:solidFill>
                  <a:prstClr val="black"/>
                </a:solidFill>
                <a:latin typeface="Amalia" panose="020B0504020203020204" pitchFamily="34" charset="0"/>
              </a:rPr>
              <a:t>Dieses Dokument dient zu Informationszwecken und darf nicht ohne Zustimmung der RBI vervielfältigt oder an andere Personen weiterverteilt werden. Dieses Dokument ist weder ein Angebot, noch eine Einladung zur Angebotsstellung, noch ein Prospekt im Sinne des KMG oder des </a:t>
            </a:r>
            <a:r>
              <a:rPr lang="de-AT" sz="1100" err="1">
                <a:solidFill>
                  <a:prstClr val="black"/>
                </a:solidFill>
                <a:latin typeface="Amalia" panose="020B0504020203020204" pitchFamily="34" charset="0"/>
              </a:rPr>
              <a:t>Börsegesetzes</a:t>
            </a:r>
            <a:r>
              <a:rPr lang="de-AT" sz="1100">
                <a:solidFill>
                  <a:prstClr val="black"/>
                </a:solidFill>
                <a:latin typeface="Amalia" panose="020B0504020203020204" pitchFamily="34" charset="0"/>
              </a:rPr>
              <a:t> oder eines vergleichbaren ausländischen Gesetzes. Eine Anlageentscheidung hinsichtlich eines Finanzinstruments, eines Finanzproduktes oder einer Veranlagung (alle nachfolgend „Produkt“) hat auf Grundlage eines genehmigten und veröffentlichten Prospektes oder der vollständigen Dokumentation des entsprechenden Produkts zu erfolgen und nicht auf Grundlage dieses Dokuments.</a:t>
            </a:r>
          </a:p>
          <a:p>
            <a:pPr algn="just" defTabSz="1169755"/>
            <a:r>
              <a:rPr lang="de-AT" sz="1100">
                <a:solidFill>
                  <a:prstClr val="black"/>
                </a:solidFill>
                <a:latin typeface="Amalia" panose="020B0504020203020204" pitchFamily="34" charset="0"/>
              </a:rPr>
              <a:t>Dieses Dokument ist keine persönliche Empfehlung zum Kauf oder Verkauf von Finanzinstrumenten im Sinne des Wertpapieraufsichtsgesetzes. Weder dieses Dokument noch seine Bestandteile bilden die Grundlage irgendeines Vertrages oder einer Verpflichtung irgendeiner Art. Dieses Dokument stellt keinen Ersatz für die erforderliche Beratung in Bezug auf den Kauf oder Verkauf eines Finanzinstruments, eines Finanzproduktes oder einer Veranlagung dar. Eine individuelle anleger- und anlagegerechte Beratung in Bezug auf den Kauf oder Verkauf eines der genannten Produkte kann bei Ihrem Bankberater eingeholt werden.</a:t>
            </a:r>
          </a:p>
          <a:p>
            <a:pPr algn="just" defTabSz="1169755"/>
            <a:r>
              <a:rPr lang="de-AT" sz="1100">
                <a:solidFill>
                  <a:prstClr val="black"/>
                </a:solidFill>
                <a:latin typeface="Amalia" panose="020B0504020203020204" pitchFamily="34" charset="0"/>
              </a:rPr>
              <a:t>Diese Analyse basiert auf grundsätzlich allgemein zugänglichen Informationen und nicht auf vertraulichen Informationen, die dem unmittelbaren Verfasser der Analyse ausschließlich aufgrund der Kundenbeziehung zu einer Person zugegangen sind. </a:t>
            </a:r>
          </a:p>
          <a:p>
            <a:pPr algn="just" defTabSz="1169755"/>
            <a:r>
              <a:rPr lang="de-AT" sz="1100">
                <a:solidFill>
                  <a:prstClr val="black"/>
                </a:solidFill>
                <a:latin typeface="Amalia" panose="020B0504020203020204" pitchFamily="34" charset="0"/>
              </a:rPr>
              <a:t>Die RBI erachtet – außer anderwärtig in dieser Publikation ausdrücklich offengelegt – sämtliche Informationen als zuverlässig, macht jedoch keine Zusicherungen betreffend deren Genauigkeit und Vollständigkeit. </a:t>
            </a:r>
          </a:p>
          <a:p>
            <a:pPr algn="just" defTabSz="1169755"/>
            <a:r>
              <a:rPr lang="de-AT" sz="1100">
                <a:solidFill>
                  <a:prstClr val="black"/>
                </a:solidFill>
                <a:latin typeface="Amalia" panose="020B0504020203020204" pitchFamily="34" charset="0"/>
              </a:rPr>
              <a:t>In Schwellenmärkten kann ein erhöhtes Abrechnungs- und Depotstellenrisiko bestehen als in Märkten mit einer etablierten Infrastruktur. Die Liquidität von Aktien/Finanzinstrumenten ist unter anderem von der Anzahl der Market Maker beeinflussbar. Beide Umstände können zu einem erhöhten Risiko hinsichtlich der Sicherheit einer unter Berücksichtigung der in diesem Dokument enthaltenen Informationen getätigten Investition führen.</a:t>
            </a:r>
          </a:p>
        </p:txBody>
      </p:sp>
    </p:spTree>
    <p:extLst>
      <p:ext uri="{BB962C8B-B14F-4D97-AF65-F5344CB8AC3E}">
        <p14:creationId xmlns:p14="http://schemas.microsoft.com/office/powerpoint/2010/main" val="26243926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520735" y="1202312"/>
            <a:ext cx="12361287" cy="443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algn="just" defTabSz="1169755"/>
            <a:r>
              <a:rPr lang="de-AT" sz="1100">
                <a:solidFill>
                  <a:prstClr val="black"/>
                </a:solidFill>
                <a:latin typeface="Amalia" panose="020B0504020203020204" pitchFamily="34" charset="0"/>
              </a:rPr>
              <a:t>Die Information dieser Publikation entspricht dem Stand zum Erstellungsdatum. Sie kann aufgrund künftiger Entwicklungen überholt sein, ohne dass die Publikation geändert wird. </a:t>
            </a:r>
          </a:p>
          <a:p>
            <a:pPr algn="just" defTabSz="1169755"/>
            <a:r>
              <a:rPr lang="de-AT" sz="1100">
                <a:solidFill>
                  <a:prstClr val="black"/>
                </a:solidFill>
                <a:latin typeface="Amalia" panose="020B0504020203020204" pitchFamily="34" charset="0"/>
              </a:rPr>
              <a:t>Sofern nicht ausdrücklich anders offengelegt (www.raiffeisenresearch.com/special_compensation), werden die von der RBI beschäftigten Analysten nicht für bestimmte Investment Banking-Transaktionen vergütet. Die Vergütung des Autors bzw. der Autoren dieses Berichtes basiert (unter anderem) auf der Gesamtrentabilität der RBI, die sich unter anderem aus den Einnahmen aus dem Investmentbanking und sonstigen Geschäften der RBI ergibt. Im Allgemeinen verbietet die RBI ihren Analysten und diesen Bericht erstattenden Personen den Erwerb von Wertpapieren oder anderen Finanzinstrumenten jeglicher Unternehmen, die von den Analysten abgedeckt werden, sofern der Erwerb nicht von der Compliance-Abteilung der RBI vorab genehmigt wurde.</a:t>
            </a:r>
          </a:p>
          <a:p>
            <a:pPr algn="just" defTabSz="1169755"/>
            <a:r>
              <a:rPr lang="de-AT" sz="1100">
                <a:solidFill>
                  <a:prstClr val="black"/>
                </a:solidFill>
                <a:latin typeface="Amalia" panose="020B0504020203020204" pitchFamily="34" charset="0"/>
              </a:rPr>
              <a:t>Die RBI hat folgende organisatorische oder verwaltungstechnische Vereinbarungen – einschließlich Informationsschranken – zur Verhinderung oder Vermeidung von Interessenskonflikten im Zusammenhang mit Empfehlungen getroffen: Die RBI hat grundsätzlich verbindliche Vertraulichkeitsbereiche definiert. Diese sind typischerweise solche Einheiten von Kreditinstituten, die von anderen Einheiten durch organisatorische Maßnahmen hinsichtlich des Informationsaustausches abzugrenzen sind, weil dort ständig oder vorübergehend </a:t>
            </a:r>
            <a:r>
              <a:rPr lang="de-AT" sz="1100" err="1">
                <a:solidFill>
                  <a:prstClr val="black"/>
                </a:solidFill>
                <a:latin typeface="Amalia" panose="020B0504020203020204" pitchFamily="34" charset="0"/>
              </a:rPr>
              <a:t>compliance</a:t>
            </a:r>
            <a:r>
              <a:rPr lang="de-AT" sz="1100">
                <a:solidFill>
                  <a:prstClr val="black"/>
                </a:solidFill>
                <a:latin typeface="Amalia" panose="020B0504020203020204" pitchFamily="34" charset="0"/>
              </a:rPr>
              <a:t>-relevante Informationen anfallen können. Compliance-relevante Informationen dürfen einen Vertraulichkeitsbereich grundsätzlich nicht verlassen und sind im internen Geschäftsverkehr auch gegenüber anderen Einheiten streng vertraulich zu behandeln. Das gilt nicht für die im üblichen Geschäftsablauf betriebsnotwendige Weitergabe von Informationen. Diese beschränkt sich jedoch auf das unbedingt Erforderliche (Need-</a:t>
            </a:r>
            <a:r>
              <a:rPr lang="de-AT" sz="1100" err="1">
                <a:solidFill>
                  <a:prstClr val="black"/>
                </a:solidFill>
                <a:latin typeface="Amalia" panose="020B0504020203020204" pitchFamily="34" charset="0"/>
              </a:rPr>
              <a:t>to</a:t>
            </a:r>
            <a:r>
              <a:rPr lang="de-AT" sz="1100">
                <a:solidFill>
                  <a:prstClr val="black"/>
                </a:solidFill>
                <a:latin typeface="Amalia" panose="020B0504020203020204" pitchFamily="34" charset="0"/>
              </a:rPr>
              <a:t>-</a:t>
            </a:r>
            <a:r>
              <a:rPr lang="de-AT" sz="1100" err="1">
                <a:solidFill>
                  <a:prstClr val="black"/>
                </a:solidFill>
                <a:latin typeface="Amalia" panose="020B0504020203020204" pitchFamily="34" charset="0"/>
              </a:rPr>
              <a:t>know</a:t>
            </a:r>
            <a:r>
              <a:rPr lang="de-AT" sz="1100">
                <a:solidFill>
                  <a:prstClr val="black"/>
                </a:solidFill>
                <a:latin typeface="Amalia" panose="020B0504020203020204" pitchFamily="34" charset="0"/>
              </a:rPr>
              <a:t>-Prinzip). Werden </a:t>
            </a:r>
            <a:r>
              <a:rPr lang="de-AT" sz="1100" err="1">
                <a:solidFill>
                  <a:prstClr val="black"/>
                </a:solidFill>
                <a:latin typeface="Amalia" panose="020B0504020203020204" pitchFamily="34" charset="0"/>
              </a:rPr>
              <a:t>compliance</a:t>
            </a:r>
            <a:r>
              <a:rPr lang="de-AT" sz="1100">
                <a:solidFill>
                  <a:prstClr val="black"/>
                </a:solidFill>
                <a:latin typeface="Amalia" panose="020B0504020203020204" pitchFamily="34" charset="0"/>
              </a:rPr>
              <a:t>-relevante Informationen zwischen zwei Vertraulichkeitsbereichen ausgetauscht, darf das nur unter Einschaltung des Compliance </a:t>
            </a:r>
            <a:r>
              <a:rPr lang="de-AT" sz="1100" err="1">
                <a:solidFill>
                  <a:prstClr val="black"/>
                </a:solidFill>
                <a:latin typeface="Amalia" panose="020B0504020203020204" pitchFamily="34" charset="0"/>
              </a:rPr>
              <a:t>Officers</a:t>
            </a:r>
            <a:r>
              <a:rPr lang="de-AT" sz="1100">
                <a:solidFill>
                  <a:prstClr val="black"/>
                </a:solidFill>
                <a:latin typeface="Amalia" panose="020B0504020203020204" pitchFamily="34" charset="0"/>
              </a:rPr>
              <a:t> erfolgen.</a:t>
            </a:r>
          </a:p>
          <a:p>
            <a:pPr algn="just" defTabSz="1169755"/>
            <a:r>
              <a:rPr lang="de-AT" sz="1100">
                <a:solidFill>
                  <a:prstClr val="black"/>
                </a:solidFill>
                <a:latin typeface="Amalia" panose="020B0504020203020204" pitchFamily="34" charset="0"/>
              </a:rPr>
              <a:t>SONDERREGELN FÜR DAS VEREINIGTE KÖNIGREICH GROSSBRITANNIEN UND NORDIRLAND (UK): Dieses Dokument stellt weder ein öffentliches Angebot im Sinne des Kapitalmarktgesetzes („KMG“) dar, noch einen Prospekt im Sinne des KMG oder des Börsengesetzes. Ferner beabsichtigt dieses Dokument nicht die Empfehlung des Kaufs oder Verkaufs von Wertpapieren oder anderen Anlageformen im Sinne des Wertpapieraufsichtsgesetzes. Dieses Dokument stellt keinen Ersatz für die erforderliche Beratung in Bezug auf den Kauf oder Verkauf von Wertpapieren oder Anlagen dar. Für jegliche Beratung in Bezug auf den Kauf oder Verkauf von Wertpapieren oder Anlagen können Sie sich gerne an Ihre RAIFFEISENBANK wenden. Diese Publikation wurde von der Raiffeisen Bank International AG („RBI“) zur Förderung ihres Anlagengeschäftes genehmigt oder herausgegeben. Die RBI London Branch wurde von der österreichischen Finanzmarktaufsicht (FMA) ermächtigt und wird in eingeschränktem Maße von der Financial Conduct Authority („FCA“) reguliert. Details zum Ausmaß der Regulierung der Zweigniederlassung in London durch die FCA sind auf Anfrage erhältlich. Diese Veröffentlichung ist nicht für Investoren gedacht, die im Sinne der FCA-Regeln Endkunden sind, und darf daher nicht an sie verteilt werden. Weder die in diesem Dokument enthaltenen Informationen noch die darin geäußerten Meinungen stellen ein Angebot oder eine Aufforderung zu einem Angebot zum Kauf (oder Verkauf) von Anlagen dar und sind nicht derart auszulegen. Die RBI könnte eine Own Account Transaction (Transaktion in eigener Sache) im Sinne der FCA-Regeln in jede hierin erwähnte oder damit verbundene Anlage getätigt haben und als Folge einen Anteil oder eine Beteiligung an besagter Anlage halten. Die RBI könnte als Manager oder Co-Manager eines öffentlichen Angebots jedes in diesem Bericht erwähnten und/oder damit verbundenen Wertpapiers handeln oder gehandelt haben.</a:t>
            </a:r>
            <a:endParaRPr lang="en-GB" sz="1100">
              <a:solidFill>
                <a:prstClr val="black"/>
              </a:solidFill>
              <a:latin typeface="Amalia" panose="020B0504020203020204" pitchFamily="34" charset="0"/>
            </a:endParaRPr>
          </a:p>
          <a:p>
            <a:pPr>
              <a:spcAft>
                <a:spcPts val="700"/>
              </a:spcAft>
            </a:pPr>
            <a:endParaRPr lang="en-GB" sz="1100">
              <a:latin typeface="Amalia" panose="020B0504020203020204" pitchFamily="34" charset="0"/>
            </a:endParaRPr>
          </a:p>
          <a:p>
            <a:pPr>
              <a:spcAft>
                <a:spcPts val="700"/>
              </a:spcAft>
            </a:pPr>
            <a:endParaRPr lang="en-GB" sz="1100">
              <a:latin typeface="Amalia" panose="020B0504020203020204" pitchFamily="34" charset="0"/>
            </a:endParaRPr>
          </a:p>
        </p:txBody>
      </p:sp>
      <p:sp>
        <p:nvSpPr>
          <p:cNvPr id="4" name="Rectangle 2"/>
          <p:cNvSpPr>
            <a:spLocks noGrp="1"/>
          </p:cNvSpPr>
          <p:nvPr>
            <p:ph type="title"/>
          </p:nvPr>
        </p:nvSpPr>
        <p:spPr>
          <a:xfrm>
            <a:off x="634629" y="501438"/>
            <a:ext cx="10546210" cy="373750"/>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en-GB" sz="2400"/>
              <a:t>Disclaimer</a:t>
            </a:r>
            <a:endParaRPr lang="de-AT" sz="2400"/>
          </a:p>
        </p:txBody>
      </p:sp>
    </p:spTree>
    <p:extLst>
      <p:ext uri="{BB962C8B-B14F-4D97-AF65-F5344CB8AC3E}">
        <p14:creationId xmlns:p14="http://schemas.microsoft.com/office/powerpoint/2010/main" val="28289881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882" name="Rectangle 2"/>
          <p:cNvSpPr>
            <a:spLocks noGrp="1"/>
          </p:cNvSpPr>
          <p:nvPr>
            <p:ph type="title"/>
          </p:nvPr>
        </p:nvSpPr>
        <p:spPr>
          <a:xfrm>
            <a:off x="634629" y="501438"/>
            <a:ext cx="10546210" cy="373750"/>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t>Disclaimer</a:t>
            </a:r>
            <a:r>
              <a:rPr lang="de-DE" sz="2260"/>
              <a:t> </a:t>
            </a:r>
            <a:endParaRPr lang="de-AT" sz="2260"/>
          </a:p>
        </p:txBody>
      </p:sp>
      <p:sp>
        <p:nvSpPr>
          <p:cNvPr id="5754883" name="Text Box 3"/>
          <p:cNvSpPr txBox="1">
            <a:spLocks noChangeArrowheads="1"/>
          </p:cNvSpPr>
          <p:nvPr/>
        </p:nvSpPr>
        <p:spPr bwMode="auto">
          <a:xfrm>
            <a:off x="1765884" y="2206545"/>
            <a:ext cx="9919147" cy="2188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15481" tIns="57744" rIns="115481" bIns="57744">
            <a:spAutoFit/>
          </a:bodyPr>
          <a:lstStyle/>
          <a:p>
            <a:pPr algn="ctr" eaLnBrk="0" hangingPunct="0">
              <a:spcBef>
                <a:spcPct val="0"/>
              </a:spcBef>
              <a:spcAft>
                <a:spcPct val="0"/>
              </a:spcAft>
              <a:buFontTx/>
              <a:buNone/>
            </a:pPr>
            <a:endParaRPr lang="de-AT" sz="3945"/>
          </a:p>
          <a:p>
            <a:pPr algn="ctr" eaLnBrk="0" hangingPunct="0">
              <a:spcBef>
                <a:spcPct val="0"/>
              </a:spcBef>
              <a:spcAft>
                <a:spcPct val="0"/>
              </a:spcAft>
              <a:buFontTx/>
              <a:buNone/>
            </a:pPr>
            <a:endParaRPr lang="en-GB" sz="2553"/>
          </a:p>
          <a:p>
            <a:pPr algn="ctr" eaLnBrk="0" hangingPunct="0">
              <a:spcBef>
                <a:spcPct val="0"/>
              </a:spcBef>
              <a:spcAft>
                <a:spcPct val="0"/>
              </a:spcAft>
              <a:buFontTx/>
              <a:buNone/>
            </a:pPr>
            <a:endParaRPr lang="en-GB" sz="3365"/>
          </a:p>
          <a:p>
            <a:pPr algn="ctr" eaLnBrk="0" hangingPunct="0">
              <a:spcBef>
                <a:spcPct val="0"/>
              </a:spcBef>
              <a:spcAft>
                <a:spcPct val="0"/>
              </a:spcAft>
              <a:buFontTx/>
              <a:buNone/>
            </a:pPr>
            <a:endParaRPr lang="en-GB" sz="3599"/>
          </a:p>
        </p:txBody>
      </p:sp>
      <p:sp>
        <p:nvSpPr>
          <p:cNvPr id="5754884" name="Text Box 4"/>
          <p:cNvSpPr txBox="1">
            <a:spLocks noChangeArrowheads="1"/>
          </p:cNvSpPr>
          <p:nvPr/>
        </p:nvSpPr>
        <p:spPr bwMode="auto">
          <a:xfrm>
            <a:off x="513840" y="1205716"/>
            <a:ext cx="12812312" cy="3671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algn="just" defTabSz="1169755"/>
            <a:r>
              <a:rPr lang="de-DE" sz="1100">
                <a:solidFill>
                  <a:prstClr val="black"/>
                </a:solidFill>
                <a:latin typeface="Amalia" panose="020B0504020203020204" pitchFamily="34" charset="0"/>
              </a:rPr>
              <a:t>SPEZIFISCHE BESCHRÄNKUNGEN FÜR DIE VEREINIGTEN STAATEN VON AMERIKA UND KANADA: Dieses Dokument darf weder in die Vereinigten Staaten von Amerika oder nach Kanada oder in ihre jeweiligen Hoheitsgebiete oder Besitzungen übertragen oder darin verteilt werden, noch darf es an irgendeine US-amerikanische Person oder irgendeine Person mit Wohnsitz in Kanada verteilt werden, es sei denn, die Übermittlung erfolgt direkt durch die RB International </a:t>
            </a:r>
            <a:r>
              <a:rPr lang="de-DE" sz="1100" err="1">
                <a:solidFill>
                  <a:prstClr val="black"/>
                </a:solidFill>
                <a:latin typeface="Amalia" panose="020B0504020203020204" pitchFamily="34" charset="0"/>
              </a:rPr>
              <a:t>Markets</a:t>
            </a:r>
            <a:r>
              <a:rPr lang="de-DE" sz="1100">
                <a:solidFill>
                  <a:prstClr val="black"/>
                </a:solidFill>
                <a:latin typeface="Amalia" panose="020B0504020203020204" pitchFamily="34" charset="0"/>
              </a:rPr>
              <a:t> (USA) LLC, einen in den USA registrierten Broker-Dealer (‚RBIM‘), und vorbehaltlich der nachstehenden Bedingungen. </a:t>
            </a:r>
            <a:endParaRPr lang="en-GB" sz="1100">
              <a:solidFill>
                <a:prstClr val="black"/>
              </a:solidFill>
              <a:latin typeface="Amalia" panose="020B0504020203020204" pitchFamily="34" charset="0"/>
            </a:endParaRPr>
          </a:p>
          <a:p>
            <a:pPr algn="just" defTabSz="1169755"/>
            <a:r>
              <a:rPr lang="de-DE" sz="1100">
                <a:solidFill>
                  <a:prstClr val="black"/>
                </a:solidFill>
                <a:latin typeface="Amalia" panose="020B0504020203020204" pitchFamily="34" charset="0"/>
              </a:rPr>
              <a:t>SPEZIFISCHE INFORMATIONEN FÜR DIE VEREINIGTEN STAATEN VON AMERIKA UND KANADA: Dieses Research-Dokument ist ausschließlich für institutionelle Investoren bestimmt und unterliegt nicht allen Unabhängigkeits- und Offenlegungsstandards, die für die Erstellung von Research-Unterlagen für Kleinanleger/Privatanleger anwendbar sind. Dieser Bericht wurde Ihnen durch die RB International </a:t>
            </a:r>
            <a:r>
              <a:rPr lang="de-DE" sz="1100" err="1">
                <a:solidFill>
                  <a:prstClr val="black"/>
                </a:solidFill>
                <a:latin typeface="Amalia" panose="020B0504020203020204" pitchFamily="34" charset="0"/>
              </a:rPr>
              <a:t>Markets</a:t>
            </a:r>
            <a:r>
              <a:rPr lang="de-DE" sz="1100">
                <a:solidFill>
                  <a:prstClr val="black"/>
                </a:solidFill>
                <a:latin typeface="Amalia" panose="020B0504020203020204" pitchFamily="34" charset="0"/>
              </a:rPr>
              <a:t> (USA) LLC (abgekürzt „RBIM“) , einen in den US registrierten Broker-Dealer übermittelt, wurde jedoch von unserem nicht-US-amerikanischen Verbundunternehmen Raiffeisen Bank International AG („RBI“) erstellt. Jeder Auftrag zum Kauf oder Verkauf von Wertpapieren, die Gegenstand dieses Berichtes sind, müssen bei der RBIM platziert werden. Die RBIM ist unter folgender Adresse erreichbar: 1133 Avenue </a:t>
            </a:r>
            <a:r>
              <a:rPr lang="de-DE" sz="1100" err="1">
                <a:solidFill>
                  <a:prstClr val="black"/>
                </a:solidFill>
                <a:latin typeface="Amalia" panose="020B0504020203020204" pitchFamily="34" charset="0"/>
              </a:rPr>
              <a:t>of</a:t>
            </a:r>
            <a:r>
              <a:rPr lang="de-DE" sz="1100">
                <a:solidFill>
                  <a:prstClr val="black"/>
                </a:solidFill>
                <a:latin typeface="Amalia" panose="020B0504020203020204" pitchFamily="34" charset="0"/>
              </a:rPr>
              <a:t> </a:t>
            </a:r>
            <a:r>
              <a:rPr lang="de-DE" sz="1100" err="1">
                <a:solidFill>
                  <a:prstClr val="black"/>
                </a:solidFill>
                <a:latin typeface="Amalia" panose="020B0504020203020204" pitchFamily="34" charset="0"/>
              </a:rPr>
              <a:t>the</a:t>
            </a:r>
            <a:r>
              <a:rPr lang="de-DE" sz="1100">
                <a:solidFill>
                  <a:prstClr val="black"/>
                </a:solidFill>
                <a:latin typeface="Amalia" panose="020B0504020203020204" pitchFamily="34" charset="0"/>
              </a:rPr>
              <a:t> </a:t>
            </a:r>
            <a:r>
              <a:rPr lang="de-DE" sz="1100" err="1">
                <a:solidFill>
                  <a:prstClr val="black"/>
                </a:solidFill>
                <a:latin typeface="Amalia" panose="020B0504020203020204" pitchFamily="34" charset="0"/>
              </a:rPr>
              <a:t>Americas</a:t>
            </a:r>
            <a:r>
              <a:rPr lang="de-DE" sz="1100">
                <a:solidFill>
                  <a:prstClr val="black"/>
                </a:solidFill>
                <a:latin typeface="Amalia" panose="020B0504020203020204" pitchFamily="34" charset="0"/>
              </a:rPr>
              <a:t>, 16th Floor, New York, NY 10036, 212-600-2588. Dieses Dokument wurde außerhalb der Vereinigten Staaten von einem oder mehreren Analysten erstellt, für die möglicherweise nicht Vorschriften hinsichtlich der Erstellung von Berichten und der Unabhängigkeit von Forschungsanalysten galten, die mit jenen vergleichbar sind, die in den Vereinigten Staaten in Kraft sind. Der/die Analyst/en, der/die dieses Dokument erstellte/n, (i) sind nicht bei der Financial Industry </a:t>
            </a:r>
            <a:r>
              <a:rPr lang="de-DE" sz="1100" err="1">
                <a:solidFill>
                  <a:prstClr val="black"/>
                </a:solidFill>
                <a:latin typeface="Amalia" panose="020B0504020203020204" pitchFamily="34" charset="0"/>
              </a:rPr>
              <a:t>Regulatory</a:t>
            </a:r>
            <a:r>
              <a:rPr lang="de-DE" sz="1100">
                <a:solidFill>
                  <a:prstClr val="black"/>
                </a:solidFill>
                <a:latin typeface="Amalia" panose="020B0504020203020204" pitchFamily="34" charset="0"/>
              </a:rPr>
              <a:t> Authority (FINRA) in den Vereinigten Staaten als Research-Analysten registriert oder qualifiziert und (ii) dürfen keine assoziierten Personen der RBIM sein und unterliegen daher nicht den Vorschriften der FINRA, inklusive der Vorschriften bezüglich des Verhaltens oder der Unabhängigkeit von Research-Analysten.</a:t>
            </a:r>
            <a:endParaRPr lang="en-GB" sz="1100">
              <a:solidFill>
                <a:prstClr val="black"/>
              </a:solidFill>
              <a:latin typeface="Amalia" panose="020B0504020203020204" pitchFamily="34" charset="0"/>
            </a:endParaRPr>
          </a:p>
          <a:p>
            <a:pPr algn="just" defTabSz="1169755"/>
            <a:r>
              <a:rPr lang="de-DE" sz="1100">
                <a:solidFill>
                  <a:prstClr val="black"/>
                </a:solidFill>
                <a:latin typeface="Amalia" panose="020B0504020203020204" pitchFamily="34" charset="0"/>
              </a:rPr>
              <a:t>Die in diesem Bericht enthaltenen Meinungen, Schätzungen und Prognosen sind nur zum Datum dieses Berichtes jene der RBI und können ohne Vorankündigung geändert werden. Die in diesem Bericht enthaltenen Informationen wurden von der RBI von als zuverlässig erachteten Quellen zusammengestellt, doch die RBI, ihre verbundenen Unternehmen oder irgendeine andere Person geben keinerlei ausdrückliche oder stillschweigende Zusicherung oder Gewährleistung bezüglich der Genauigkeit, Vollständigkeit und Richtigkeit des Berichtes. Jene Wertpapiere, die nicht in den Vereinigten Staaten registriert sind, dürfen weder innerhalb der Vereinigten Staaten noch an eine US-amerikanische Person direkt oder indirekt angeboten oder verkauft werden (im Sinne der Regulation S des Securities Act </a:t>
            </a:r>
            <a:r>
              <a:rPr lang="de-DE" sz="1100" err="1">
                <a:solidFill>
                  <a:prstClr val="black"/>
                </a:solidFill>
                <a:latin typeface="Amalia" panose="020B0504020203020204" pitchFamily="34" charset="0"/>
              </a:rPr>
              <a:t>of</a:t>
            </a:r>
            <a:r>
              <a:rPr lang="de-DE" sz="1100">
                <a:solidFill>
                  <a:prstClr val="black"/>
                </a:solidFill>
                <a:latin typeface="Amalia" panose="020B0504020203020204" pitchFamily="34" charset="0"/>
              </a:rPr>
              <a:t> 1933, abgekürzt „Wertpapiergesetz“), es sei denn, es liegt eine Ausnahme gemäß des Wertpapiergesetzes vor. Dieser Bericht stellt weder ein Angebot zum Kauf oder Verkauf eines Wertpapiers im Sinne von Abschnitt 5 des Wertpapiergesetzes dar, noch bildet dieser Bericht oder irgendeine hierin enthaltene Information die Grundlage eines Vertrages oder einer Verpflichtung irgendeiner Art welcher in diesem Zusammenhang als zuverlässig erachtet werden kann. Dieser Bericht stellt lediglich allgemeine Informationen zur Verfügung. In Kanada darf er nur an Personen mit Wohnsitz in Kanada verteilt werden, die aufgrund ihrer Befreiung von der Prospektpflicht gemäß den im jeweiligen Territorium bzw. der jeweiligen Provinz geltenden wertpapierrechtlichen Bestimmungen berechtigt sind, Abschlüsse in Zusammenhang mit den hierin beschriebenen Wertpapieren zu tätigen. </a:t>
            </a:r>
            <a:endParaRPr lang="en-GB" sz="1100">
              <a:solidFill>
                <a:prstClr val="black"/>
              </a:solidFill>
              <a:latin typeface="Amalia" panose="020B0504020203020204" pitchFamily="34" charset="0"/>
            </a:endParaRPr>
          </a:p>
        </p:txBody>
      </p:sp>
    </p:spTree>
    <p:extLst>
      <p:ext uri="{BB962C8B-B14F-4D97-AF65-F5344CB8AC3E}">
        <p14:creationId xmlns:p14="http://schemas.microsoft.com/office/powerpoint/2010/main" val="26359825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524096" y="1185079"/>
            <a:ext cx="12493003" cy="321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defTabSz="1169755">
              <a:spcAft>
                <a:spcPts val="1368"/>
              </a:spcAft>
            </a:pPr>
            <a:r>
              <a:rPr lang="de-AT" sz="1100">
                <a:solidFill>
                  <a:prstClr val="black"/>
                </a:solidFill>
                <a:latin typeface="Amalia" panose="020B0504020203020204" pitchFamily="34" charset="0"/>
              </a:rPr>
              <a:t>EU-VERORDNUNG NR. 833/2014 ÜBER RESTRIKTIVE MASSNAHMEN ANGESICHTS DER HANDLUNGEN RUSSLANDS, DIE DIE LAGE IN DER UKRAINE DESTABILISIEREN</a:t>
            </a:r>
          </a:p>
          <a:p>
            <a:pPr defTabSz="1169755">
              <a:spcAft>
                <a:spcPts val="1368"/>
              </a:spcAft>
            </a:pPr>
            <a:r>
              <a:rPr lang="de-AT" sz="1100">
                <a:solidFill>
                  <a:prstClr val="black"/>
                </a:solidFill>
                <a:latin typeface="Amalia" panose="020B0504020203020204" pitchFamily="34" charset="0"/>
              </a:rPr>
              <a:t> Bitte beachten Sie, dass sich die Analysen und Empfehlungen nur auf Finanzinstrumente beziehen, die nicht von Sanktionen gemäß EU-Verordnung Nr. 833/2014 über restriktive Maßnahmen angesichts der Handlungen Russlands, die die Lage in der Ukraine destabilisieren, in der geltenden Fassung betroffen sind. Das sind Finanzinstrumente, die vor dem 1. August 2014 begeben wurden. </a:t>
            </a:r>
          </a:p>
          <a:p>
            <a:pPr defTabSz="1169755">
              <a:spcAft>
                <a:spcPts val="1368"/>
              </a:spcAft>
            </a:pPr>
            <a:r>
              <a:rPr lang="de-AT" sz="1100">
                <a:solidFill>
                  <a:prstClr val="black"/>
                </a:solidFill>
                <a:latin typeface="Amalia" panose="020B0504020203020204" pitchFamily="34" charset="0"/>
              </a:rPr>
              <a:t> Wir machen Sie darauf aufmerksam, dass der Erwerb von Finanzinstrumenten mit einer Laufzeit von über 30 Tagen, die nach dem 31. Juli 2014 begeben wurden, gemäß EU-Verordnung Nr. 833/2014 über restriktive Maßnahmen angesichts der Handlungen Russlands, die die Lage in der Ukraine destabilisieren, in der geltenden Fassung verboten ist. Zu solchen verbotenen Finanzinstrumenten wird nicht Stellung genommen.</a:t>
            </a:r>
          </a:p>
          <a:p>
            <a:pPr defTabSz="1169755">
              <a:spcAft>
                <a:spcPts val="1368"/>
              </a:spcAft>
            </a:pPr>
            <a:r>
              <a:rPr lang="de-DE" sz="1100">
                <a:solidFill>
                  <a:prstClr val="black"/>
                </a:solidFill>
                <a:latin typeface="Amalia" panose="020B0504020203020204" pitchFamily="34" charset="0"/>
              </a:rPr>
              <a:t>HINWEIS FÜR DAS FÜRSTENTUM LIECHTENSTEIN: Die RICHTLINIE 2003/125/EG DER KOMMISSION vom 22. Dezember 2003 zur Durchführung der Richtlinie 2003/6/EG des Europäischen Parlaments und des Rates in Bezug auf die sachgerechte Darbietung von Anlageempfehlungen und die Offenlegung von Interessenkonflikten wurde im Fürstentum Liechtenstein durch die Finanzanalyse-Marktmissbrauchs-Verordnung in nationales Recht umgesetzt.</a:t>
            </a:r>
            <a:endParaRPr lang="en-GB" sz="1100">
              <a:solidFill>
                <a:prstClr val="black"/>
              </a:solidFill>
              <a:latin typeface="Amalia" panose="020B0504020203020204" pitchFamily="34" charset="0"/>
            </a:endParaRPr>
          </a:p>
          <a:p>
            <a:pPr defTabSz="1169755">
              <a:spcAft>
                <a:spcPts val="1368"/>
              </a:spcAft>
            </a:pPr>
            <a:r>
              <a:rPr lang="de-DE" sz="1100">
                <a:solidFill>
                  <a:prstClr val="black"/>
                </a:solidFill>
                <a:latin typeface="Amalia" panose="020B0504020203020204" pitchFamily="34" charset="0"/>
              </a:rPr>
              <a:t>Sollte sich eine Bestimmung dieses Disclaimers unter dem jeweils anwendbaren Recht als rechtswidrig, unwirksam oder nicht durchsetzbar herausstellen, ist die betreffende Bestimmung, soweit sie von den übrigen Bestimmungen trennbar ist, so zu behandeln, als wäre sie nicht Bestandteil dieses Disclaimers; in keinem Fall berührt sie die Rechtmäßigkeit, Wirksamkeit oder Durchsetzbarkeit der übrigen Bestimmungen. </a:t>
            </a:r>
            <a:endParaRPr lang="en-GB" sz="1100">
              <a:solidFill>
                <a:prstClr val="black"/>
              </a:solidFill>
              <a:latin typeface="Amalia" panose="020B0504020203020204" pitchFamily="34" charset="0"/>
            </a:endParaRPr>
          </a:p>
          <a:p>
            <a:pPr algn="just">
              <a:spcAft>
                <a:spcPts val="756"/>
              </a:spcAft>
            </a:pPr>
            <a:endParaRPr lang="en-GB" sz="1100">
              <a:latin typeface="Amalia" panose="020B0504020203020204" pitchFamily="34" charset="0"/>
            </a:endParaRPr>
          </a:p>
        </p:txBody>
      </p:sp>
      <p:sp>
        <p:nvSpPr>
          <p:cNvPr id="4" name="Rectangle 2"/>
          <p:cNvSpPr>
            <a:spLocks noGrp="1"/>
          </p:cNvSpPr>
          <p:nvPr>
            <p:ph type="title"/>
          </p:nvPr>
        </p:nvSpPr>
        <p:spPr>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t>Disclaimer</a:t>
            </a:r>
            <a:r>
              <a:rPr lang="de-DE"/>
              <a:t> </a:t>
            </a:r>
            <a:endParaRPr lang="de-AT"/>
          </a:p>
        </p:txBody>
      </p:sp>
    </p:spTree>
    <p:extLst>
      <p:ext uri="{BB962C8B-B14F-4D97-AF65-F5344CB8AC3E}">
        <p14:creationId xmlns:p14="http://schemas.microsoft.com/office/powerpoint/2010/main" val="29760672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882" name="Rectangle 2"/>
          <p:cNvSpPr>
            <a:spLocks noGrp="1"/>
          </p:cNvSpPr>
          <p:nvPr>
            <p:ph type="title"/>
          </p:nvPr>
        </p:nvSpPr>
        <p:spPr>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t>Impressum</a:t>
            </a:r>
            <a:endParaRPr lang="de-AT" sz="2400"/>
          </a:p>
        </p:txBody>
      </p:sp>
      <p:sp>
        <p:nvSpPr>
          <p:cNvPr id="5754883" name="Text Box 3"/>
          <p:cNvSpPr txBox="1">
            <a:spLocks noChangeArrowheads="1"/>
          </p:cNvSpPr>
          <p:nvPr/>
        </p:nvSpPr>
        <p:spPr bwMode="auto">
          <a:xfrm>
            <a:off x="1765884" y="2206545"/>
            <a:ext cx="9919147" cy="2188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15481" tIns="57744" rIns="115481" bIns="57744">
            <a:spAutoFit/>
          </a:bodyPr>
          <a:lstStyle/>
          <a:p>
            <a:pPr algn="ctr" eaLnBrk="0" hangingPunct="0">
              <a:spcBef>
                <a:spcPct val="0"/>
              </a:spcBef>
              <a:spcAft>
                <a:spcPct val="0"/>
              </a:spcAft>
              <a:buFontTx/>
              <a:buNone/>
            </a:pPr>
            <a:endParaRPr lang="de-AT" sz="3945"/>
          </a:p>
          <a:p>
            <a:pPr algn="ctr" eaLnBrk="0" hangingPunct="0">
              <a:spcBef>
                <a:spcPct val="0"/>
              </a:spcBef>
              <a:spcAft>
                <a:spcPct val="0"/>
              </a:spcAft>
              <a:buFontTx/>
              <a:buNone/>
            </a:pPr>
            <a:endParaRPr lang="en-GB" sz="2553"/>
          </a:p>
          <a:p>
            <a:pPr algn="ctr" eaLnBrk="0" hangingPunct="0">
              <a:spcBef>
                <a:spcPct val="0"/>
              </a:spcBef>
              <a:spcAft>
                <a:spcPct val="0"/>
              </a:spcAft>
              <a:buFontTx/>
              <a:buNone/>
            </a:pPr>
            <a:endParaRPr lang="en-GB" sz="3365"/>
          </a:p>
          <a:p>
            <a:pPr algn="ctr" eaLnBrk="0" hangingPunct="0">
              <a:spcBef>
                <a:spcPct val="0"/>
              </a:spcBef>
              <a:spcAft>
                <a:spcPct val="0"/>
              </a:spcAft>
              <a:buFontTx/>
              <a:buNone/>
            </a:pPr>
            <a:endParaRPr lang="en-GB" sz="3599"/>
          </a:p>
        </p:txBody>
      </p:sp>
      <p:sp>
        <p:nvSpPr>
          <p:cNvPr id="5754884" name="Text Box 4"/>
          <p:cNvSpPr txBox="1">
            <a:spLocks noChangeArrowheads="1"/>
          </p:cNvSpPr>
          <p:nvPr/>
        </p:nvSpPr>
        <p:spPr bwMode="auto">
          <a:xfrm>
            <a:off x="527620" y="1208560"/>
            <a:ext cx="12387713" cy="41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spAutoFit/>
          </a:bodyPr>
          <a:lstStyle/>
          <a:p>
            <a:pPr algn="just">
              <a:spcAft>
                <a:spcPts val="743"/>
              </a:spcAft>
            </a:pPr>
            <a:r>
              <a:rPr lang="de-AT" sz="1100">
                <a:solidFill>
                  <a:prstClr val="black"/>
                </a:solidFill>
                <a:latin typeface="Amalia" panose="020B0504020203020204" pitchFamily="34" charset="0"/>
              </a:rPr>
              <a:t>Informationen gemäß § 5 E-Commerce Gesetz</a:t>
            </a:r>
          </a:p>
          <a:p>
            <a:pPr algn="just">
              <a:spcAft>
                <a:spcPts val="743"/>
              </a:spcAft>
            </a:pPr>
            <a:r>
              <a:rPr lang="de-AT" sz="1100">
                <a:solidFill>
                  <a:prstClr val="black"/>
                </a:solidFill>
                <a:latin typeface="Amalia" panose="020B0504020203020204" pitchFamily="34" charset="0"/>
              </a:rPr>
              <a:t>Raiffeisen Bank International AG</a:t>
            </a:r>
          </a:p>
          <a:p>
            <a:pPr algn="just">
              <a:spcAft>
                <a:spcPts val="743"/>
              </a:spcAft>
            </a:pPr>
            <a:r>
              <a:rPr lang="de-AT" sz="1100">
                <a:solidFill>
                  <a:prstClr val="black"/>
                </a:solidFill>
                <a:latin typeface="Amalia" panose="020B0504020203020204" pitchFamily="34" charset="0"/>
              </a:rPr>
              <a:t>Firmensitz: Am Stadtpark 9, 1030 Wien</a:t>
            </a:r>
          </a:p>
          <a:p>
            <a:pPr algn="just">
              <a:spcAft>
                <a:spcPts val="743"/>
              </a:spcAft>
            </a:pPr>
            <a:r>
              <a:rPr lang="de-AT" sz="1100">
                <a:solidFill>
                  <a:prstClr val="black"/>
                </a:solidFill>
                <a:latin typeface="Amalia" panose="020B0504020203020204" pitchFamily="34" charset="0"/>
              </a:rPr>
              <a:t>Postanschrift: 1010 Wien, Postfach 50; Telefon: +43-1-71707-0; Fax: + 43-1-71707- 1848 </a:t>
            </a:r>
          </a:p>
          <a:p>
            <a:pPr algn="just">
              <a:spcAft>
                <a:spcPts val="743"/>
              </a:spcAft>
            </a:pPr>
            <a:r>
              <a:rPr lang="de-AT" sz="1100">
                <a:solidFill>
                  <a:prstClr val="black"/>
                </a:solidFill>
                <a:latin typeface="Amalia" panose="020B0504020203020204" pitchFamily="34" charset="0"/>
              </a:rPr>
              <a:t>Firmenbuchnummer: FN 122119m beim Handelsgericht Wien </a:t>
            </a:r>
          </a:p>
          <a:p>
            <a:pPr algn="just">
              <a:spcAft>
                <a:spcPts val="743"/>
              </a:spcAft>
            </a:pPr>
            <a:r>
              <a:rPr lang="de-AT" sz="1100">
                <a:solidFill>
                  <a:prstClr val="black"/>
                </a:solidFill>
                <a:latin typeface="Amalia" panose="020B0504020203020204" pitchFamily="34" charset="0"/>
              </a:rPr>
              <a:t>Umsatzsteuer-Identifikationsnummer: UID ATU 57531200 </a:t>
            </a:r>
          </a:p>
          <a:p>
            <a:pPr algn="just">
              <a:spcAft>
                <a:spcPts val="743"/>
              </a:spcAft>
            </a:pPr>
            <a:r>
              <a:rPr lang="de-AT" sz="1100">
                <a:solidFill>
                  <a:prstClr val="black"/>
                </a:solidFill>
                <a:latin typeface="Amalia" panose="020B0504020203020204" pitchFamily="34" charset="0"/>
              </a:rPr>
              <a:t>Österreichisches Datenverarbeitungsregister: Datenverarbeitungsregisternummer (DVR): 4002771 </a:t>
            </a:r>
          </a:p>
          <a:p>
            <a:pPr algn="just">
              <a:spcAft>
                <a:spcPts val="743"/>
              </a:spcAft>
            </a:pPr>
            <a:r>
              <a:rPr lang="en-US" sz="1100">
                <a:solidFill>
                  <a:prstClr val="black"/>
                </a:solidFill>
                <a:latin typeface="Amalia" panose="020B0504020203020204" pitchFamily="34" charset="0"/>
              </a:rPr>
              <a:t>S.W.I.F.T.-Code: RZBA AT WW </a:t>
            </a:r>
            <a:endParaRPr lang="de-AT" sz="1100">
              <a:solidFill>
                <a:prstClr val="black"/>
              </a:solidFill>
              <a:latin typeface="Amalia" panose="020B0504020203020204" pitchFamily="34" charset="0"/>
            </a:endParaRPr>
          </a:p>
          <a:p>
            <a:pPr algn="just">
              <a:spcAft>
                <a:spcPts val="743"/>
              </a:spcAft>
            </a:pPr>
            <a:r>
              <a:rPr lang="de-AT" sz="1100">
                <a:solidFill>
                  <a:prstClr val="black"/>
                </a:solidFill>
                <a:latin typeface="Amalia" panose="020B0504020203020204" pitchFamily="34" charset="0"/>
              </a:rPr>
              <a:t>Aufsichtsbehörden: Als ein Kreditinstitut gemäß § 1 Bankwesengesetz (BWG) unterliegt die Raiffeisen Bank International AG (RBI) der Aufsicht der Finanzmarktaufsicht (FMA) und der </a:t>
            </a:r>
            <a:r>
              <a:rPr lang="de-AT" sz="1100" err="1">
                <a:solidFill>
                  <a:prstClr val="black"/>
                </a:solidFill>
                <a:latin typeface="Amalia" panose="020B0504020203020204" pitchFamily="34" charset="0"/>
              </a:rPr>
              <a:t>Oesterreichischen</a:t>
            </a:r>
            <a:r>
              <a:rPr lang="de-AT" sz="1100">
                <a:solidFill>
                  <a:prstClr val="black"/>
                </a:solidFill>
                <a:latin typeface="Amalia" panose="020B0504020203020204" pitchFamily="34" charset="0"/>
              </a:rPr>
              <a:t> Nationalbank. Darüber hinaus unterliegt die RBI der behördlichen Aufsicht der Europäischen Zentralbank (EZB), die diese innerhalb eines Einheitlichen Aufsichtsmechanismus (Single </a:t>
            </a:r>
            <a:r>
              <a:rPr lang="de-AT" sz="1100" err="1">
                <a:solidFill>
                  <a:prstClr val="black"/>
                </a:solidFill>
                <a:latin typeface="Amalia" panose="020B0504020203020204" pitchFamily="34" charset="0"/>
              </a:rPr>
              <a:t>Supervisory</a:t>
            </a:r>
            <a:r>
              <a:rPr lang="de-AT" sz="1100">
                <a:solidFill>
                  <a:prstClr val="black"/>
                </a:solidFill>
                <a:latin typeface="Amalia" panose="020B0504020203020204" pitchFamily="34" charset="0"/>
              </a:rPr>
              <a:t> </a:t>
            </a:r>
            <a:r>
              <a:rPr lang="de-AT" sz="1100" err="1">
                <a:solidFill>
                  <a:prstClr val="black"/>
                </a:solidFill>
                <a:latin typeface="Amalia" panose="020B0504020203020204" pitchFamily="34" charset="0"/>
              </a:rPr>
              <a:t>Mechanism</a:t>
            </a:r>
            <a:r>
              <a:rPr lang="de-AT" sz="1100">
                <a:solidFill>
                  <a:prstClr val="black"/>
                </a:solidFill>
                <a:latin typeface="Amalia" panose="020B0504020203020204" pitchFamily="34" charset="0"/>
              </a:rPr>
              <a:t> – SSM) wahrnimmt, der aus der EZB und den nationalen zuständigen Behörden besteht (</a:t>
            </a:r>
            <a:r>
              <a:rPr lang="de-AT" sz="1100" u="sng">
                <a:solidFill>
                  <a:prstClr val="black"/>
                </a:solidFill>
                <a:latin typeface="Amalia" panose="020B0504020203020204" pitchFamily="34" charset="0"/>
                <a:hlinkClick r:id="rId3"/>
              </a:rPr>
              <a:t>Verordnung (EU) Nr. 1024/2013 des Rates</a:t>
            </a:r>
            <a:r>
              <a:rPr lang="de-AT" sz="1100">
                <a:solidFill>
                  <a:prstClr val="black"/>
                </a:solidFill>
                <a:latin typeface="Amalia" panose="020B0504020203020204" pitchFamily="34" charset="0"/>
              </a:rPr>
              <a:t> – SSM-Verordnung). Verweise auf gesetzliche Normen beziehen sich auf solche der Republik Österreich, soweit nicht ausdrücklich anders angeführt.</a:t>
            </a:r>
          </a:p>
          <a:p>
            <a:pPr algn="just">
              <a:spcAft>
                <a:spcPts val="743"/>
              </a:spcAft>
            </a:pPr>
            <a:r>
              <a:rPr lang="de-AT" sz="1100">
                <a:solidFill>
                  <a:prstClr val="black"/>
                </a:solidFill>
                <a:latin typeface="Amalia" panose="020B0504020203020204" pitchFamily="34" charset="0"/>
              </a:rPr>
              <a:t>Mitgliedschaft: Die Raiffeisen Bank International AG ist Mitglied der Wirtschaftskammer Österreich, Bundessparte Bank und Versicherung, Fachverband der Raiffeisenbanken.</a:t>
            </a:r>
          </a:p>
          <a:p>
            <a:pPr algn="just">
              <a:spcAft>
                <a:spcPts val="743"/>
              </a:spcAft>
            </a:pPr>
            <a:r>
              <a:rPr lang="de-AT" sz="1100">
                <a:solidFill>
                  <a:prstClr val="black"/>
                </a:solidFill>
                <a:latin typeface="Amalia" panose="020B0504020203020204" pitchFamily="34" charset="0"/>
              </a:rPr>
              <a:t>Angaben nach dem österreichischen Mediengesetz </a:t>
            </a:r>
          </a:p>
          <a:p>
            <a:pPr algn="just">
              <a:spcAft>
                <a:spcPts val="743"/>
              </a:spcAft>
            </a:pPr>
            <a:r>
              <a:rPr lang="de-AT" sz="1100">
                <a:solidFill>
                  <a:prstClr val="black"/>
                </a:solidFill>
                <a:latin typeface="Amalia" panose="020B0504020203020204" pitchFamily="34" charset="0"/>
              </a:rPr>
              <a:t> Herausgeber und Redaktion dieser Publikation: Raiffeisen Bank International AG, Am Stadtpark 9, A-1030 Wien </a:t>
            </a:r>
          </a:p>
          <a:p>
            <a:pPr algn="just">
              <a:spcAft>
                <a:spcPts val="743"/>
              </a:spcAft>
            </a:pPr>
            <a:r>
              <a:rPr lang="de-AT" sz="1100">
                <a:solidFill>
                  <a:prstClr val="black"/>
                </a:solidFill>
                <a:latin typeface="Amalia" panose="020B0504020203020204" pitchFamily="34" charset="0"/>
              </a:rPr>
              <a:t>Medieninhaber dieser Publikation: Raiffeisen Research – Verein zur Verbreitung von volkswirtschaftlichen Analysen und Finanzmarktanalysen</a:t>
            </a:r>
          </a:p>
          <a:p>
            <a:pPr>
              <a:spcAft>
                <a:spcPts val="743"/>
              </a:spcAft>
            </a:pPr>
            <a:r>
              <a:rPr lang="de-AT" sz="1100">
                <a:solidFill>
                  <a:prstClr val="black"/>
                </a:solidFill>
                <a:latin typeface="Amalia" panose="020B0504020203020204" pitchFamily="34" charset="0"/>
              </a:rPr>
              <a:t>Am Stadtpark 9, A-1030 Wien </a:t>
            </a:r>
          </a:p>
        </p:txBody>
      </p:sp>
    </p:spTree>
    <p:extLst>
      <p:ext uri="{BB962C8B-B14F-4D97-AF65-F5344CB8AC3E}">
        <p14:creationId xmlns:p14="http://schemas.microsoft.com/office/powerpoint/2010/main" val="16088020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545311" y="1220949"/>
            <a:ext cx="12493003" cy="3204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481" tIns="57744" rIns="115481" bIns="57744" anchor="t">
            <a:spAutoFit/>
          </a:bodyPr>
          <a:lstStyle/>
          <a:p>
            <a:pPr>
              <a:spcAft>
                <a:spcPts val="743"/>
              </a:spcAft>
            </a:pPr>
            <a:r>
              <a:rPr lang="de-AT" sz="1100" b="1" dirty="0">
                <a:latin typeface="Amalia"/>
              </a:rPr>
              <a:t>Vorstand von Raiffeisen Research – Verein zur Verbreitung von volkswirtschaftlichen Analysen und Finanzmarktanalysen:</a:t>
            </a:r>
            <a:br>
              <a:rPr lang="de-AT" sz="1100" dirty="0">
                <a:latin typeface="Amalia" panose="020B0504020203020204" pitchFamily="34" charset="0"/>
              </a:rPr>
            </a:br>
            <a:r>
              <a:rPr lang="de-AT" sz="1100" dirty="0">
                <a:latin typeface="Amalia"/>
              </a:rPr>
              <a:t>Mag. Peter </a:t>
            </a:r>
            <a:r>
              <a:rPr lang="de-AT" sz="1100" dirty="0" err="1">
                <a:latin typeface="Amalia"/>
              </a:rPr>
              <a:t>Brezinschek</a:t>
            </a:r>
            <a:r>
              <a:rPr lang="de-AT" sz="1100" dirty="0">
                <a:latin typeface="Amalia"/>
              </a:rPr>
              <a:t> (Obmann), Mag. Helge Rechberger (Obmann-</a:t>
            </a:r>
            <a:r>
              <a:rPr lang="de-AT" sz="1100" dirty="0" err="1">
                <a:latin typeface="Amalia"/>
              </a:rPr>
              <a:t>Stv</a:t>
            </a:r>
            <a:r>
              <a:rPr lang="de-AT" sz="1100" dirty="0">
                <a:latin typeface="Amalia"/>
              </a:rPr>
              <a:t>.)  </a:t>
            </a:r>
          </a:p>
          <a:p>
            <a:pPr>
              <a:spcAft>
                <a:spcPts val="743"/>
              </a:spcAft>
            </a:pPr>
            <a:r>
              <a:rPr lang="de-AT" sz="1100" dirty="0">
                <a:latin typeface="Amalia"/>
              </a:rPr>
              <a:t>Raiffeisen Research – Verein zur Verbreitung von volkswirtschaftlichen Analysen und Finanzmarktanalysen ist als behördlich registrierter Verein konstituiert. Zweck und Tätigkeit des Vereins ist unter anderem die Verbreitung von Analysen, Daten, Prognosen und Berichten und ähnlichen Publikationen bezogen auf die österreichische und internationale Volkswirtschaft und den Finanzmarkt.    </a:t>
            </a:r>
            <a:endParaRPr lang="de-AT" sz="1100" dirty="0">
              <a:latin typeface="Amalia" panose="020B0504020203020204" pitchFamily="34" charset="0"/>
            </a:endParaRPr>
          </a:p>
          <a:p>
            <a:pPr>
              <a:spcAft>
                <a:spcPts val="743"/>
              </a:spcAft>
            </a:pPr>
            <a:r>
              <a:rPr lang="de-AT" sz="1100" b="1" dirty="0">
                <a:latin typeface="Amalia"/>
              </a:rPr>
              <a:t>Grundlegende inhaltliche Richtung dieser Publikation: </a:t>
            </a:r>
            <a:r>
              <a:rPr lang="de-AT" sz="1100" dirty="0">
                <a:latin typeface="Amalia"/>
              </a:rPr>
              <a:t>Analyse zu Volkswirtschaft, Zinsen und Währungen, Staatsanleihen und Unternehmensanleihen, Aktien sowie Rohstoffen mit den regionalen Schwerpunkten Eurozone sowie Zentral- und Osteuropa unter Berücksichtigung der globalen Märkte.  </a:t>
            </a:r>
            <a:endParaRPr lang="de-AT" sz="1100" dirty="0">
              <a:latin typeface="Amalia" panose="020B0504020203020204" pitchFamily="34" charset="0"/>
            </a:endParaRPr>
          </a:p>
          <a:p>
            <a:pPr>
              <a:spcAft>
                <a:spcPts val="743"/>
              </a:spcAft>
            </a:pPr>
            <a:r>
              <a:rPr lang="de-AT" sz="1100" dirty="0">
                <a:latin typeface="Amalia"/>
              </a:rPr>
              <a:t>Die Analyse erfolgt unter Einsatz der unterschiedlichen Analyse-Ansätze: Fundamentaler Analyse, quantitativer Analyse und/oder technischer Analyse. </a:t>
            </a:r>
            <a:endParaRPr lang="de-AT" sz="1100" dirty="0">
              <a:latin typeface="Amalia" panose="020B0504020203020204" pitchFamily="34" charset="0"/>
            </a:endParaRPr>
          </a:p>
          <a:p>
            <a:pPr>
              <a:spcAft>
                <a:spcPts val="743"/>
              </a:spcAft>
            </a:pPr>
            <a:r>
              <a:rPr lang="de-AT" sz="1100" b="1" dirty="0">
                <a:latin typeface="Amalia"/>
              </a:rPr>
              <a:t>Hersteller dieser Publikation: </a:t>
            </a:r>
            <a:r>
              <a:rPr lang="de-AT" sz="1100" dirty="0">
                <a:latin typeface="Amalia"/>
              </a:rPr>
              <a:t>Raiffeisen Bank International AG, Am Stadtpark 9, A-1030 Wien</a:t>
            </a:r>
          </a:p>
          <a:p>
            <a:pPr>
              <a:spcAft>
                <a:spcPts val="743"/>
              </a:spcAft>
            </a:pPr>
            <a:endParaRPr lang="de-AT" sz="1100" dirty="0">
              <a:solidFill>
                <a:prstClr val="black"/>
              </a:solidFill>
              <a:latin typeface="Amalia" panose="020B0504020203020204" pitchFamily="34" charset="0"/>
            </a:endParaRPr>
          </a:p>
          <a:p>
            <a:pPr>
              <a:spcAft>
                <a:spcPts val="743"/>
              </a:spcAft>
            </a:pPr>
            <a:endParaRPr lang="de-AT" sz="1100" dirty="0">
              <a:solidFill>
                <a:prstClr val="black"/>
              </a:solidFill>
              <a:latin typeface="Amalia" panose="020B0504020203020204" pitchFamily="34" charset="0"/>
            </a:endParaRPr>
          </a:p>
          <a:p>
            <a:pPr>
              <a:spcAft>
                <a:spcPts val="743"/>
              </a:spcAft>
            </a:pPr>
            <a:endParaRPr lang="de-AT" sz="1100" b="1" dirty="0">
              <a:solidFill>
                <a:prstClr val="black"/>
              </a:solidFill>
              <a:latin typeface="Amalia" panose="020B0504020203020204" pitchFamily="34" charset="0"/>
            </a:endParaRPr>
          </a:p>
          <a:p>
            <a:pPr defTabSz="1168089"/>
            <a:r>
              <a:rPr lang="de-AT" sz="1100" b="1" dirty="0">
                <a:latin typeface="Amalia"/>
              </a:rPr>
              <a:t>Editor: Matthias Reith; </a:t>
            </a:r>
            <a:br>
              <a:rPr lang="de-AT" sz="1100" b="1" dirty="0">
                <a:latin typeface="Amalia" panose="020B0504020203020204" pitchFamily="34" charset="0"/>
              </a:rPr>
            </a:br>
            <a:r>
              <a:rPr lang="de-AT" sz="1100" b="1" dirty="0">
                <a:latin typeface="Amalia"/>
              </a:rPr>
              <a:t>Fertiggestellt:  11.10.2021, 10:00 Uhr MESZ / Erstmalige Weitergabe: 14.10.2021, 17:00 Uhr MESZ</a:t>
            </a:r>
          </a:p>
        </p:txBody>
      </p:sp>
      <p:sp>
        <p:nvSpPr>
          <p:cNvPr id="11" name="Rectangle 2">
            <a:extLst>
              <a:ext uri="{FF2B5EF4-FFF2-40B4-BE49-F238E27FC236}">
                <a16:creationId xmlns:a16="http://schemas.microsoft.com/office/drawing/2014/main" id="{38227642-F33D-4603-BDD1-1B0DD66ABBE8}"/>
              </a:ext>
            </a:extLst>
          </p:cNvPr>
          <p:cNvSpPr>
            <a:spLocks noGrp="1"/>
          </p:cNvSpPr>
          <p:nvPr>
            <p:ph type="title"/>
          </p:nvPr>
        </p:nvSpPr>
        <p:spPr>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6137" rIns="114279" bIns="56137" rtlCol="0" anchor="ctr" anchorCtr="0">
            <a:noAutofit/>
          </a:bodyPr>
          <a:lstStyle/>
          <a:p>
            <a:r>
              <a:rPr lang="de-DE" sz="2400"/>
              <a:t>Impressum</a:t>
            </a:r>
            <a:endParaRPr lang="de-AT" sz="2400"/>
          </a:p>
        </p:txBody>
      </p:sp>
    </p:spTree>
    <p:extLst>
      <p:ext uri="{BB962C8B-B14F-4D97-AF65-F5344CB8AC3E}">
        <p14:creationId xmlns:p14="http://schemas.microsoft.com/office/powerpoint/2010/main" val="1860629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0464F8-2C5C-45A0-BBCB-183CA78B5E28}"/>
              </a:ext>
            </a:extLst>
          </p:cNvPr>
          <p:cNvSpPr>
            <a:spLocks noGrp="1"/>
          </p:cNvSpPr>
          <p:nvPr>
            <p:ph type="title"/>
          </p:nvPr>
        </p:nvSpPr>
        <p:spPr/>
        <p:txBody>
          <a:bodyPr/>
          <a:lstStyle/>
          <a:p>
            <a:r>
              <a:rPr lang="de-DE" sz="2400" dirty="0"/>
              <a:t>COVID-19 </a:t>
            </a:r>
            <a:br>
              <a:rPr lang="de-DE" sz="2400" b="0" dirty="0">
                <a:solidFill>
                  <a:schemeClr val="bg1">
                    <a:lumMod val="50000"/>
                  </a:schemeClr>
                </a:solidFill>
              </a:rPr>
            </a:br>
            <a:r>
              <a:rPr lang="de-DE" sz="2400" b="0" dirty="0">
                <a:solidFill>
                  <a:schemeClr val="bg1">
                    <a:lumMod val="50000"/>
                  </a:schemeClr>
                </a:solidFill>
              </a:rPr>
              <a:t>hinterlässt noch immer weniger Spuren</a:t>
            </a:r>
            <a:endParaRPr lang="de-DE" sz="2400" dirty="0"/>
          </a:p>
        </p:txBody>
      </p:sp>
      <p:pic>
        <p:nvPicPr>
          <p:cNvPr id="4" name="Grafik 7">
            <a:extLst>
              <a:ext uri="{FF2B5EF4-FFF2-40B4-BE49-F238E27FC236}">
                <a16:creationId xmlns:a16="http://schemas.microsoft.com/office/drawing/2014/main" id="{7A621FF1-6011-409F-B052-CC9F5E7DFE44}"/>
              </a:ext>
            </a:extLst>
          </p:cNvPr>
          <p:cNvPicPr>
            <a:picLocks noChangeAspect="1"/>
          </p:cNvPicPr>
          <p:nvPr/>
        </p:nvPicPr>
        <p:blipFill rotWithShape="1">
          <a:blip r:embed="rId2"/>
          <a:srcRect b="11234"/>
          <a:stretch/>
        </p:blipFill>
        <p:spPr>
          <a:xfrm>
            <a:off x="1338017" y="1102686"/>
            <a:ext cx="11182232" cy="5921872"/>
          </a:xfrm>
          <a:prstGeom prst="rect">
            <a:avLst/>
          </a:prstGeom>
        </p:spPr>
      </p:pic>
    </p:spTree>
    <p:extLst>
      <p:ext uri="{BB962C8B-B14F-4D97-AF65-F5344CB8AC3E}">
        <p14:creationId xmlns:p14="http://schemas.microsoft.com/office/powerpoint/2010/main" val="162874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1117CA-1CE0-4D2D-B996-6DE33EE0B9CD}"/>
              </a:ext>
            </a:extLst>
          </p:cNvPr>
          <p:cNvSpPr>
            <a:spLocks noGrp="1"/>
          </p:cNvSpPr>
          <p:nvPr>
            <p:ph type="title"/>
          </p:nvPr>
        </p:nvSpPr>
        <p:spPr/>
        <p:txBody>
          <a:bodyPr/>
          <a:lstStyle/>
          <a:p>
            <a:r>
              <a:rPr lang="de-DE" sz="2400"/>
              <a:t>KONJUNKTUR</a:t>
            </a:r>
            <a:br>
              <a:rPr lang="de-DE" sz="2400" b="0">
                <a:solidFill>
                  <a:schemeClr val="bg1">
                    <a:lumMod val="50000"/>
                  </a:schemeClr>
                </a:solidFill>
              </a:rPr>
            </a:br>
            <a:r>
              <a:rPr lang="de-DE" sz="2400" b="0">
                <a:solidFill>
                  <a:schemeClr val="bg1">
                    <a:lumMod val="50000"/>
                  </a:schemeClr>
                </a:solidFill>
              </a:rPr>
              <a:t>Lieferkettenverzögerungen und Nachfragesprung</a:t>
            </a:r>
            <a:endParaRPr lang="de-DE" sz="2400"/>
          </a:p>
        </p:txBody>
      </p:sp>
      <p:pic>
        <p:nvPicPr>
          <p:cNvPr id="4" name="Grafik 10">
            <a:extLst>
              <a:ext uri="{FF2B5EF4-FFF2-40B4-BE49-F238E27FC236}">
                <a16:creationId xmlns:a16="http://schemas.microsoft.com/office/drawing/2014/main" id="{8DCE2038-2204-4620-BC18-1C6B7EE50BEB}"/>
              </a:ext>
            </a:extLst>
          </p:cNvPr>
          <p:cNvPicPr>
            <a:picLocks noChangeAspect="1"/>
          </p:cNvPicPr>
          <p:nvPr/>
        </p:nvPicPr>
        <p:blipFill>
          <a:blip r:embed="rId2"/>
          <a:stretch>
            <a:fillRect/>
          </a:stretch>
        </p:blipFill>
        <p:spPr>
          <a:xfrm>
            <a:off x="634629" y="1106999"/>
            <a:ext cx="12493003" cy="5896702"/>
          </a:xfrm>
          <a:prstGeom prst="rect">
            <a:avLst/>
          </a:prstGeom>
        </p:spPr>
      </p:pic>
    </p:spTree>
    <p:extLst>
      <p:ext uri="{BB962C8B-B14F-4D97-AF65-F5344CB8AC3E}">
        <p14:creationId xmlns:p14="http://schemas.microsoft.com/office/powerpoint/2010/main" val="1042468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102FC7-508C-4C39-8042-0A8A2ADE633B}"/>
              </a:ext>
            </a:extLst>
          </p:cNvPr>
          <p:cNvSpPr>
            <a:spLocks noGrp="1"/>
          </p:cNvSpPr>
          <p:nvPr>
            <p:ph type="title"/>
          </p:nvPr>
        </p:nvSpPr>
        <p:spPr>
          <a:xfrm>
            <a:off x="670476" y="468407"/>
            <a:ext cx="10563568" cy="388536"/>
          </a:xfrm>
        </p:spPr>
        <p:txBody>
          <a:bodyPr/>
          <a:lstStyle/>
          <a:p>
            <a:r>
              <a:rPr lang="de-AT" sz="2400">
                <a:latin typeface="Amalia" panose="020B0504020203020204" pitchFamily="34" charset="0"/>
              </a:rPr>
              <a:t>WELTKONJUNKTUR</a:t>
            </a:r>
            <a:br>
              <a:rPr lang="de-AT" sz="2400">
                <a:latin typeface="Amalia" panose="020B0504020203020204" pitchFamily="34" charset="0"/>
              </a:rPr>
            </a:br>
            <a:r>
              <a:rPr lang="de-AT" sz="2400" b="0">
                <a:solidFill>
                  <a:schemeClr val="bg1">
                    <a:lumMod val="50000"/>
                  </a:schemeClr>
                </a:solidFill>
                <a:latin typeface="Amalia" panose="020B0504020203020204" pitchFamily="34" charset="0"/>
              </a:rPr>
              <a:t>… ab 2021 langer Zyklus für die kommenden 2-3 Jahre</a:t>
            </a:r>
          </a:p>
        </p:txBody>
      </p:sp>
      <p:sp>
        <p:nvSpPr>
          <p:cNvPr id="14" name="Content Placeholder 59">
            <a:extLst>
              <a:ext uri="{FF2B5EF4-FFF2-40B4-BE49-F238E27FC236}">
                <a16:creationId xmlns:a16="http://schemas.microsoft.com/office/drawing/2014/main" id="{540B37E0-1AC3-4A72-B2FF-8816F66B9A5C}"/>
              </a:ext>
            </a:extLst>
          </p:cNvPr>
          <p:cNvSpPr txBox="1">
            <a:spLocks/>
          </p:cNvSpPr>
          <p:nvPr/>
        </p:nvSpPr>
        <p:spPr bwMode="gray">
          <a:xfrm>
            <a:off x="652206" y="6830608"/>
            <a:ext cx="6209295" cy="224106"/>
          </a:xfrm>
          <a:prstGeom prst="rect">
            <a:avLst/>
          </a:prstGeom>
        </p:spPr>
        <p:txBody>
          <a:bodyPr vert="horz" lIns="0" tIns="0" rIns="0" bIns="0" rtlCol="0" anchor="b" anchorCtr="0">
            <a:noAutofit/>
          </a:bodyPr>
          <a:lstStyle>
            <a:lvl1pPr algn="l" defTabSz="802020" rtl="0" eaLnBrk="1" latinLnBrk="0" hangingPunct="1">
              <a:lnSpc>
                <a:spcPct val="90000"/>
              </a:lnSpc>
              <a:spcBef>
                <a:spcPct val="0"/>
              </a:spcBef>
              <a:buNone/>
              <a:defRPr sz="2400" b="1" kern="1200" cap="none" baseline="0">
                <a:solidFill>
                  <a:schemeClr val="tx1"/>
                </a:solidFill>
                <a:latin typeface="+mj-lt"/>
                <a:ea typeface="+mj-ea"/>
                <a:cs typeface="+mj-cs"/>
              </a:defRPr>
            </a:lvl1pPr>
          </a:lstStyle>
          <a:p>
            <a:pPr>
              <a:spcBef>
                <a:spcPts val="0"/>
              </a:spcBef>
            </a:pPr>
            <a:r>
              <a:rPr lang="de-AT" sz="1000" b="0">
                <a:solidFill>
                  <a:srgbClr val="808080">
                    <a:alpha val="100000"/>
                  </a:srgbClr>
                </a:solidFill>
                <a:latin typeface="Amalia" panose="020B0504020203020204" pitchFamily="34" charset="0"/>
                <a:ea typeface="+mn-ea"/>
              </a:rPr>
              <a:t>Quelle: IMF, RBI/Raiffeisen Research; * für USA und China IWF-Prognosen &amp; </a:t>
            </a:r>
            <a:r>
              <a:rPr lang="de-AT" sz="1000" b="0" err="1">
                <a:solidFill>
                  <a:srgbClr val="808080">
                    <a:alpha val="100000"/>
                  </a:srgbClr>
                </a:solidFill>
                <a:latin typeface="Amalia" panose="020B0504020203020204" pitchFamily="34" charset="0"/>
                <a:ea typeface="+mn-ea"/>
              </a:rPr>
              <a:t>FocusEconomics</a:t>
            </a:r>
            <a:r>
              <a:rPr lang="de-AT" sz="1000" b="0">
                <a:solidFill>
                  <a:srgbClr val="808080">
                    <a:alpha val="100000"/>
                  </a:srgbClr>
                </a:solidFill>
                <a:latin typeface="Amalia" panose="020B0504020203020204" pitchFamily="34" charset="0"/>
                <a:ea typeface="+mn-ea"/>
              </a:rPr>
              <a:t> für 2023</a:t>
            </a:r>
          </a:p>
        </p:txBody>
      </p:sp>
      <p:graphicFrame>
        <p:nvGraphicFramePr>
          <p:cNvPr id="3" name="Table 2">
            <a:extLst>
              <a:ext uri="{FF2B5EF4-FFF2-40B4-BE49-F238E27FC236}">
                <a16:creationId xmlns:a16="http://schemas.microsoft.com/office/drawing/2014/main" id="{A01F808E-97F6-48E9-B494-9C59EB75406F}"/>
              </a:ext>
            </a:extLst>
          </p:cNvPr>
          <p:cNvGraphicFramePr>
            <a:graphicFrameLocks noGrp="1"/>
          </p:cNvGraphicFramePr>
          <p:nvPr>
            <p:extLst>
              <p:ext uri="{D42A27DB-BD31-4B8C-83A1-F6EECF244321}">
                <p14:modId xmlns:p14="http://schemas.microsoft.com/office/powerpoint/2010/main" val="1021612852"/>
              </p:ext>
            </p:extLst>
          </p:nvPr>
        </p:nvGraphicFramePr>
        <p:xfrm>
          <a:off x="2831690" y="1288025"/>
          <a:ext cx="7610167" cy="3566845"/>
        </p:xfrm>
        <a:graphic>
          <a:graphicData uri="http://schemas.openxmlformats.org/drawingml/2006/table">
            <a:tbl>
              <a:tblPr>
                <a:tableStyleId>{3B4B98B0-60AC-42C2-AFA5-B58CD77FA1E5}</a:tableStyleId>
              </a:tblPr>
              <a:tblGrid>
                <a:gridCol w="1902543">
                  <a:extLst>
                    <a:ext uri="{9D8B030D-6E8A-4147-A177-3AD203B41FA5}">
                      <a16:colId xmlns:a16="http://schemas.microsoft.com/office/drawing/2014/main" val="2531625046"/>
                    </a:ext>
                  </a:extLst>
                </a:gridCol>
                <a:gridCol w="1426906">
                  <a:extLst>
                    <a:ext uri="{9D8B030D-6E8A-4147-A177-3AD203B41FA5}">
                      <a16:colId xmlns:a16="http://schemas.microsoft.com/office/drawing/2014/main" val="161093150"/>
                    </a:ext>
                  </a:extLst>
                </a:gridCol>
                <a:gridCol w="1426906">
                  <a:extLst>
                    <a:ext uri="{9D8B030D-6E8A-4147-A177-3AD203B41FA5}">
                      <a16:colId xmlns:a16="http://schemas.microsoft.com/office/drawing/2014/main" val="4075187031"/>
                    </a:ext>
                  </a:extLst>
                </a:gridCol>
                <a:gridCol w="1426906">
                  <a:extLst>
                    <a:ext uri="{9D8B030D-6E8A-4147-A177-3AD203B41FA5}">
                      <a16:colId xmlns:a16="http://schemas.microsoft.com/office/drawing/2014/main" val="151445241"/>
                    </a:ext>
                  </a:extLst>
                </a:gridCol>
                <a:gridCol w="1426906">
                  <a:extLst>
                    <a:ext uri="{9D8B030D-6E8A-4147-A177-3AD203B41FA5}">
                      <a16:colId xmlns:a16="http://schemas.microsoft.com/office/drawing/2014/main" val="3467427063"/>
                    </a:ext>
                  </a:extLst>
                </a:gridCol>
              </a:tblGrid>
              <a:tr h="704042">
                <a:tc>
                  <a:txBody>
                    <a:bodyPr/>
                    <a:lstStyle/>
                    <a:p>
                      <a:pPr algn="ctr" fontAlgn="b"/>
                      <a:r>
                        <a:rPr lang="de-DE" sz="2400" b="1" u="none" strike="noStrike">
                          <a:effectLst/>
                          <a:latin typeface="Amalia" panose="020B0504020203020204" pitchFamily="34" charset="0"/>
                        </a:rPr>
                        <a:t>Reales BIP </a:t>
                      </a:r>
                      <a:r>
                        <a:rPr lang="de-DE" sz="2400" b="0" u="none" strike="noStrike">
                          <a:effectLst/>
                          <a:latin typeface="Amalia" panose="020B0504020203020204" pitchFamily="34" charset="0"/>
                        </a:rPr>
                        <a:t>(% </a:t>
                      </a:r>
                      <a:r>
                        <a:rPr lang="de-DE" sz="2400" b="0" u="none" strike="noStrike" err="1">
                          <a:effectLst/>
                          <a:latin typeface="Amalia" panose="020B0504020203020204" pitchFamily="34" charset="0"/>
                        </a:rPr>
                        <a:t>gg</a:t>
                      </a:r>
                      <a:r>
                        <a:rPr lang="de-DE" sz="2400" b="0" u="none" strike="noStrike">
                          <a:effectLst/>
                          <a:latin typeface="Amalia" panose="020B0504020203020204" pitchFamily="34" charset="0"/>
                        </a:rPr>
                        <a:t>. Vorjahr)</a:t>
                      </a:r>
                      <a:endParaRPr lang="de-DE" sz="2400" b="0" i="0" u="none" strike="noStrike">
                        <a:solidFill>
                          <a:schemeClr val="bg1">
                            <a:lumMod val="50000"/>
                          </a:schemeClr>
                        </a:solidFill>
                        <a:effectLst/>
                        <a:latin typeface="Amalia" panose="020B0504020203020204" pitchFamily="34" charset="0"/>
                      </a:endParaRPr>
                    </a:p>
                  </a:txBody>
                  <a:tcPr marL="7620" marR="7620" marT="7620" marB="0" anchor="ctr">
                    <a:lnT w="28575" cap="flat" cmpd="sng" algn="ctr">
                      <a:solidFill>
                        <a:srgbClr val="FEE600"/>
                      </a:solidFill>
                      <a:prstDash val="solid"/>
                      <a:round/>
                      <a:headEnd type="none" w="med" len="med"/>
                      <a:tailEnd type="none" w="med" len="med"/>
                    </a:lnT>
                    <a:lnB w="12700" cap="flat" cmpd="sng" algn="ctr">
                      <a:solidFill>
                        <a:srgbClr val="FEE600"/>
                      </a:solidFill>
                      <a:prstDash val="solid"/>
                      <a:round/>
                      <a:headEnd type="none" w="med" len="med"/>
                      <a:tailEnd type="none" w="med" len="med"/>
                    </a:lnB>
                  </a:tcPr>
                </a:tc>
                <a:tc>
                  <a:txBody>
                    <a:bodyPr/>
                    <a:lstStyle/>
                    <a:p>
                      <a:pPr algn="ctr" fontAlgn="b"/>
                      <a:r>
                        <a:rPr lang="de-DE" sz="2400" b="1" u="none" strike="noStrike">
                          <a:effectLst/>
                          <a:latin typeface="Amalia" panose="020B0504020203020204" pitchFamily="34" charset="0"/>
                        </a:rPr>
                        <a:t>2020</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T w="28575" cap="flat" cmpd="sng" algn="ctr">
                      <a:solidFill>
                        <a:srgbClr val="FEE600"/>
                      </a:solidFill>
                      <a:prstDash val="solid"/>
                      <a:round/>
                      <a:headEnd type="none" w="med" len="med"/>
                      <a:tailEnd type="none" w="med" len="med"/>
                    </a:lnT>
                    <a:lnB w="12700" cap="flat" cmpd="sng" algn="ctr">
                      <a:solidFill>
                        <a:srgbClr val="FEE600"/>
                      </a:solidFill>
                      <a:prstDash val="solid"/>
                      <a:round/>
                      <a:headEnd type="none" w="med" len="med"/>
                      <a:tailEnd type="none" w="med" len="med"/>
                    </a:lnB>
                    <a:solidFill>
                      <a:schemeClr val="bg1">
                        <a:lumMod val="95000"/>
                      </a:schemeClr>
                    </a:solidFill>
                  </a:tcPr>
                </a:tc>
                <a:tc>
                  <a:txBody>
                    <a:bodyPr/>
                    <a:lstStyle/>
                    <a:p>
                      <a:pPr algn="ctr" fontAlgn="b"/>
                      <a:r>
                        <a:rPr lang="de-DE" sz="2400" b="1" u="none" strike="noStrike">
                          <a:effectLst/>
                          <a:latin typeface="Amalia" panose="020B0504020203020204" pitchFamily="34" charset="0"/>
                        </a:rPr>
                        <a:t>2021f</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T w="28575" cap="flat" cmpd="sng" algn="ctr">
                      <a:solidFill>
                        <a:srgbClr val="FEE600"/>
                      </a:solidFill>
                      <a:prstDash val="solid"/>
                      <a:round/>
                      <a:headEnd type="none" w="med" len="med"/>
                      <a:tailEnd type="none" w="med" len="med"/>
                    </a:lnT>
                    <a:lnB w="12700" cap="flat" cmpd="sng" algn="ctr">
                      <a:solidFill>
                        <a:srgbClr val="FEE600"/>
                      </a:solidFill>
                      <a:prstDash val="solid"/>
                      <a:round/>
                      <a:headEnd type="none" w="med" len="med"/>
                      <a:tailEnd type="none" w="med" len="med"/>
                    </a:lnB>
                  </a:tcPr>
                </a:tc>
                <a:tc>
                  <a:txBody>
                    <a:bodyPr/>
                    <a:lstStyle/>
                    <a:p>
                      <a:pPr algn="ctr" fontAlgn="b"/>
                      <a:r>
                        <a:rPr lang="de-DE" sz="2400" b="1" u="none" strike="noStrike">
                          <a:effectLst/>
                          <a:latin typeface="Amalia" panose="020B0504020203020204" pitchFamily="34" charset="0"/>
                        </a:rPr>
                        <a:t>2022f</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T w="28575" cap="flat" cmpd="sng" algn="ctr">
                      <a:solidFill>
                        <a:srgbClr val="FEE600"/>
                      </a:solidFill>
                      <a:prstDash val="solid"/>
                      <a:round/>
                      <a:headEnd type="none" w="med" len="med"/>
                      <a:tailEnd type="none" w="med" len="med"/>
                    </a:lnT>
                    <a:lnB w="12700" cap="flat" cmpd="sng" algn="ctr">
                      <a:solidFill>
                        <a:srgbClr val="FEE600"/>
                      </a:solidFill>
                      <a:prstDash val="solid"/>
                      <a:round/>
                      <a:headEnd type="none" w="med" len="med"/>
                      <a:tailEnd type="none" w="med" len="med"/>
                    </a:lnB>
                  </a:tcPr>
                </a:tc>
                <a:tc>
                  <a:txBody>
                    <a:bodyPr/>
                    <a:lstStyle/>
                    <a:p>
                      <a:pPr algn="ctr" fontAlgn="b"/>
                      <a:r>
                        <a:rPr lang="de-DE" sz="2400" b="1" u="none" strike="noStrike">
                          <a:effectLst/>
                          <a:latin typeface="Amalia" panose="020B0504020203020204" pitchFamily="34" charset="0"/>
                        </a:rPr>
                        <a:t>2023f</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T w="28575" cap="flat" cmpd="sng" algn="ctr">
                      <a:solidFill>
                        <a:srgbClr val="FEE600"/>
                      </a:solidFill>
                      <a:prstDash val="solid"/>
                      <a:round/>
                      <a:headEnd type="none" w="med" len="med"/>
                      <a:tailEnd type="none" w="med" len="med"/>
                    </a:lnT>
                    <a:lnB w="12700" cap="flat" cmpd="sng" algn="ctr">
                      <a:solidFill>
                        <a:srgbClr val="FEE600"/>
                      </a:solidFill>
                      <a:prstDash val="solid"/>
                      <a:round/>
                      <a:headEnd type="none" w="med" len="med"/>
                      <a:tailEnd type="none" w="med" len="med"/>
                    </a:lnB>
                  </a:tcPr>
                </a:tc>
                <a:extLst>
                  <a:ext uri="{0D108BD9-81ED-4DB2-BD59-A6C34878D82A}">
                    <a16:rowId xmlns:a16="http://schemas.microsoft.com/office/drawing/2014/main" val="24233210"/>
                  </a:ext>
                </a:extLst>
              </a:tr>
              <a:tr h="647718">
                <a:tc>
                  <a:txBody>
                    <a:bodyPr/>
                    <a:lstStyle/>
                    <a:p>
                      <a:pPr algn="l" fontAlgn="b"/>
                      <a:r>
                        <a:rPr lang="de-DE" sz="2400" u="none" strike="noStrike">
                          <a:effectLst/>
                          <a:latin typeface="Amalia" panose="020B0504020203020204" pitchFamily="34" charset="0"/>
                        </a:rPr>
                        <a:t>Eurozone</a:t>
                      </a:r>
                      <a:endParaRPr lang="de-DE" sz="2400" b="0" i="0" u="none" strike="noStrike">
                        <a:solidFill>
                          <a:schemeClr val="bg1">
                            <a:lumMod val="50000"/>
                          </a:schemeClr>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tcPr>
                </a:tc>
                <a:tc>
                  <a:txBody>
                    <a:bodyPr/>
                    <a:lstStyle/>
                    <a:p>
                      <a:pPr algn="ctr" fontAlgn="b"/>
                      <a:r>
                        <a:rPr lang="de-DE" sz="2400" b="1" u="none" strike="noStrike">
                          <a:solidFill>
                            <a:srgbClr val="C00000"/>
                          </a:solidFill>
                          <a:effectLst/>
                          <a:latin typeface="Amalia" panose="020B0504020203020204" pitchFamily="34" charset="0"/>
                        </a:rPr>
                        <a:t>-6.5</a:t>
                      </a:r>
                      <a:endParaRPr lang="de-DE" sz="2400" b="1" i="0" u="none" strike="noStrike">
                        <a:solidFill>
                          <a:srgbClr val="C00000"/>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solidFill>
                      <a:schemeClr val="bg1">
                        <a:lumMod val="85000"/>
                      </a:schemeClr>
                    </a:solidFill>
                  </a:tcPr>
                </a:tc>
                <a:tc>
                  <a:txBody>
                    <a:bodyPr/>
                    <a:lstStyle/>
                    <a:p>
                      <a:pPr algn="ctr" fontAlgn="b"/>
                      <a:r>
                        <a:rPr lang="de-DE" sz="2400" u="none" strike="noStrike">
                          <a:effectLst/>
                          <a:latin typeface="Amalia" panose="020B0504020203020204" pitchFamily="34" charset="0"/>
                        </a:rPr>
                        <a:t>5.0</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solidFill>
                      <a:schemeClr val="accent1">
                        <a:lumMod val="20000"/>
                        <a:lumOff val="80000"/>
                      </a:schemeClr>
                    </a:solidFill>
                  </a:tcPr>
                </a:tc>
                <a:tc>
                  <a:txBody>
                    <a:bodyPr/>
                    <a:lstStyle/>
                    <a:p>
                      <a:pPr algn="ctr" fontAlgn="b"/>
                      <a:r>
                        <a:rPr lang="de-DE" sz="2400" u="none" strike="noStrike">
                          <a:effectLst/>
                          <a:latin typeface="Amalia" panose="020B0504020203020204" pitchFamily="34" charset="0"/>
                        </a:rPr>
                        <a:t>4.0</a:t>
                      </a:r>
                      <a:endParaRPr lang="de-DE" sz="2400" b="0" i="0" u="none" strike="noStrike">
                        <a:solidFill>
                          <a:schemeClr val="bg1">
                            <a:lumMod val="50000"/>
                          </a:schemeClr>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solidFill>
                      <a:schemeClr val="accent1">
                        <a:lumMod val="20000"/>
                        <a:lumOff val="80000"/>
                      </a:schemeClr>
                    </a:solidFill>
                  </a:tcPr>
                </a:tc>
                <a:tc>
                  <a:txBody>
                    <a:bodyPr/>
                    <a:lstStyle/>
                    <a:p>
                      <a:pPr algn="ctr" fontAlgn="b"/>
                      <a:r>
                        <a:rPr lang="de-DE" sz="2400" u="none" strike="noStrike">
                          <a:effectLst/>
                          <a:latin typeface="Amalia" panose="020B0504020203020204" pitchFamily="34" charset="0"/>
                        </a:rPr>
                        <a:t>2.5</a:t>
                      </a:r>
                      <a:endParaRPr lang="de-DE" sz="2400" b="0" i="0" u="none" strike="noStrike">
                        <a:solidFill>
                          <a:schemeClr val="bg1">
                            <a:lumMod val="50000"/>
                          </a:schemeClr>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991342553"/>
                  </a:ext>
                </a:extLst>
              </a:tr>
              <a:tr h="557387">
                <a:tc>
                  <a:txBody>
                    <a:bodyPr/>
                    <a:lstStyle/>
                    <a:p>
                      <a:pPr algn="l" fontAlgn="b"/>
                      <a:r>
                        <a:rPr lang="de-DE" sz="2400" b="1" u="none" strike="noStrike">
                          <a:effectLst/>
                          <a:latin typeface="Amalia" panose="020B0504020203020204" pitchFamily="34" charset="0"/>
                        </a:rPr>
                        <a:t>Österreich</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B w="12700" cap="flat" cmpd="sng" algn="ctr">
                      <a:solidFill>
                        <a:srgbClr val="FEE600"/>
                      </a:solidFill>
                      <a:prstDash val="solid"/>
                      <a:round/>
                      <a:headEnd type="none" w="med" len="med"/>
                      <a:tailEnd type="none" w="med" len="med"/>
                    </a:lnB>
                  </a:tcPr>
                </a:tc>
                <a:tc>
                  <a:txBody>
                    <a:bodyPr/>
                    <a:lstStyle/>
                    <a:p>
                      <a:pPr algn="ctr" fontAlgn="b"/>
                      <a:r>
                        <a:rPr lang="de-DE" sz="2400" b="1" u="none" strike="noStrike" dirty="0">
                          <a:solidFill>
                            <a:srgbClr val="C00000"/>
                          </a:solidFill>
                          <a:effectLst/>
                          <a:latin typeface="Amalia" panose="020B0504020203020204" pitchFamily="34" charset="0"/>
                        </a:rPr>
                        <a:t>-6.7</a:t>
                      </a:r>
                      <a:endParaRPr lang="de-DE" sz="2400" b="1" i="0" u="none" strike="noStrike" dirty="0">
                        <a:solidFill>
                          <a:srgbClr val="C00000"/>
                        </a:solidFill>
                        <a:effectLst/>
                        <a:latin typeface="Amalia" panose="020B0504020203020204" pitchFamily="34" charset="0"/>
                      </a:endParaRPr>
                    </a:p>
                  </a:txBody>
                  <a:tcPr marL="7620" marR="7620" marT="7620" marB="0" anchor="ctr">
                    <a:lnB w="12700" cap="flat" cmpd="sng" algn="ctr">
                      <a:solidFill>
                        <a:srgbClr val="FEE600"/>
                      </a:solidFill>
                      <a:prstDash val="solid"/>
                      <a:round/>
                      <a:headEnd type="none" w="med" len="med"/>
                      <a:tailEnd type="none" w="med" len="med"/>
                    </a:lnB>
                    <a:solidFill>
                      <a:schemeClr val="bg1">
                        <a:lumMod val="95000"/>
                      </a:schemeClr>
                    </a:solidFill>
                  </a:tcPr>
                </a:tc>
                <a:tc>
                  <a:txBody>
                    <a:bodyPr/>
                    <a:lstStyle/>
                    <a:p>
                      <a:pPr algn="ctr" fontAlgn="b"/>
                      <a:r>
                        <a:rPr lang="de-DE" sz="2400" b="1" u="none" strike="noStrike">
                          <a:effectLst/>
                          <a:latin typeface="Amalia" panose="020B0504020203020204" pitchFamily="34" charset="0"/>
                        </a:rPr>
                        <a:t>4.5</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B w="12700" cap="flat" cmpd="sng" algn="ctr">
                      <a:solidFill>
                        <a:srgbClr val="FEE600"/>
                      </a:solidFill>
                      <a:prstDash val="solid"/>
                      <a:round/>
                      <a:headEnd type="none" w="med" len="med"/>
                      <a:tailEnd type="none" w="med" len="med"/>
                    </a:lnB>
                  </a:tcPr>
                </a:tc>
                <a:tc>
                  <a:txBody>
                    <a:bodyPr/>
                    <a:lstStyle/>
                    <a:p>
                      <a:pPr algn="ctr" fontAlgn="b"/>
                      <a:r>
                        <a:rPr lang="de-DE" sz="2400" b="1" u="none" strike="noStrike">
                          <a:effectLst/>
                          <a:latin typeface="Amalia" panose="020B0504020203020204" pitchFamily="34" charset="0"/>
                        </a:rPr>
                        <a:t>4.5</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B w="12700" cap="flat" cmpd="sng" algn="ctr">
                      <a:solidFill>
                        <a:srgbClr val="FEE600"/>
                      </a:solidFill>
                      <a:prstDash val="solid"/>
                      <a:round/>
                      <a:headEnd type="none" w="med" len="med"/>
                      <a:tailEnd type="none" w="med" len="med"/>
                    </a:lnB>
                  </a:tcPr>
                </a:tc>
                <a:tc>
                  <a:txBody>
                    <a:bodyPr/>
                    <a:lstStyle/>
                    <a:p>
                      <a:pPr algn="ctr" fontAlgn="b"/>
                      <a:r>
                        <a:rPr lang="de-DE" sz="2400" b="1" u="none" strike="noStrike">
                          <a:effectLst/>
                          <a:latin typeface="Amalia" panose="020B0504020203020204" pitchFamily="34" charset="0"/>
                        </a:rPr>
                        <a:t>2.2</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B w="12700" cap="flat" cmpd="sng" algn="ctr">
                      <a:solidFill>
                        <a:srgbClr val="FEE600"/>
                      </a:solidFill>
                      <a:prstDash val="solid"/>
                      <a:round/>
                      <a:headEnd type="none" w="med" len="med"/>
                      <a:tailEnd type="none" w="med" len="med"/>
                    </a:lnB>
                  </a:tcPr>
                </a:tc>
                <a:extLst>
                  <a:ext uri="{0D108BD9-81ED-4DB2-BD59-A6C34878D82A}">
                    <a16:rowId xmlns:a16="http://schemas.microsoft.com/office/drawing/2014/main" val="132976391"/>
                  </a:ext>
                </a:extLst>
              </a:tr>
              <a:tr h="609122">
                <a:tc>
                  <a:txBody>
                    <a:bodyPr/>
                    <a:lstStyle/>
                    <a:p>
                      <a:pPr algn="l" fontAlgn="b"/>
                      <a:r>
                        <a:rPr lang="de-DE" sz="2400" u="none" strike="noStrike">
                          <a:effectLst/>
                          <a:latin typeface="Amalia" panose="020B0504020203020204" pitchFamily="34" charset="0"/>
                        </a:rPr>
                        <a:t>USA*</a:t>
                      </a:r>
                      <a:endParaRPr lang="de-DE" sz="2400" b="0" i="0" u="none" strike="noStrike">
                        <a:solidFill>
                          <a:schemeClr val="bg1">
                            <a:lumMod val="50000"/>
                          </a:schemeClr>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tcPr>
                </a:tc>
                <a:tc>
                  <a:txBody>
                    <a:bodyPr/>
                    <a:lstStyle/>
                    <a:p>
                      <a:pPr algn="ctr" fontAlgn="b"/>
                      <a:r>
                        <a:rPr lang="de-DE" sz="2400" b="1" u="none" strike="noStrike">
                          <a:solidFill>
                            <a:srgbClr val="FF9600"/>
                          </a:solidFill>
                          <a:effectLst/>
                          <a:latin typeface="Amalia" panose="020B0504020203020204" pitchFamily="34" charset="0"/>
                        </a:rPr>
                        <a:t>-3.5</a:t>
                      </a:r>
                      <a:endParaRPr lang="de-DE" sz="2400" b="1" i="0" u="none" strike="noStrike">
                        <a:solidFill>
                          <a:srgbClr val="FF9600"/>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solidFill>
                      <a:schemeClr val="bg1">
                        <a:lumMod val="85000"/>
                      </a:schemeClr>
                    </a:solidFill>
                  </a:tcPr>
                </a:tc>
                <a:tc>
                  <a:txBody>
                    <a:bodyPr/>
                    <a:lstStyle/>
                    <a:p>
                      <a:pPr algn="ctr" fontAlgn="b"/>
                      <a:r>
                        <a:rPr lang="de-DE" sz="2400" u="none" strike="noStrike">
                          <a:effectLst/>
                          <a:latin typeface="Amalia" panose="020B0504020203020204" pitchFamily="34" charset="0"/>
                        </a:rPr>
                        <a:t>6.6</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solidFill>
                      <a:schemeClr val="accent1">
                        <a:lumMod val="20000"/>
                        <a:lumOff val="80000"/>
                      </a:schemeClr>
                    </a:solidFill>
                  </a:tcPr>
                </a:tc>
                <a:tc>
                  <a:txBody>
                    <a:bodyPr/>
                    <a:lstStyle/>
                    <a:p>
                      <a:pPr algn="ctr" fontAlgn="b"/>
                      <a:r>
                        <a:rPr lang="de-DE" sz="2400" u="none" strike="noStrike">
                          <a:effectLst/>
                          <a:latin typeface="Amalia" panose="020B0504020203020204" pitchFamily="34" charset="0"/>
                        </a:rPr>
                        <a:t>4.1</a:t>
                      </a:r>
                      <a:endParaRPr lang="de-DE" sz="2400" b="0" i="0" u="none" strike="noStrike">
                        <a:solidFill>
                          <a:schemeClr val="bg1">
                            <a:lumMod val="50000"/>
                          </a:schemeClr>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solidFill>
                      <a:schemeClr val="accent1">
                        <a:lumMod val="20000"/>
                        <a:lumOff val="80000"/>
                      </a:schemeClr>
                    </a:solidFill>
                  </a:tcPr>
                </a:tc>
                <a:tc>
                  <a:txBody>
                    <a:bodyPr/>
                    <a:lstStyle/>
                    <a:p>
                      <a:pPr algn="ctr" fontAlgn="b"/>
                      <a:r>
                        <a:rPr lang="de-DE" sz="2400" u="none" strike="noStrike">
                          <a:effectLst/>
                          <a:latin typeface="Amalia" panose="020B0504020203020204" pitchFamily="34" charset="0"/>
                        </a:rPr>
                        <a:t>2.3</a:t>
                      </a:r>
                      <a:endParaRPr lang="de-DE" sz="2400" b="0" i="0" u="none" strike="noStrike">
                        <a:solidFill>
                          <a:schemeClr val="bg1">
                            <a:lumMod val="50000"/>
                          </a:schemeClr>
                        </a:solidFill>
                        <a:effectLst/>
                        <a:latin typeface="Amalia" panose="020B0504020203020204" pitchFamily="34" charset="0"/>
                      </a:endParaRPr>
                    </a:p>
                  </a:txBody>
                  <a:tcPr marL="7620" marR="7620" marT="7620" marB="0" anchor="ctr">
                    <a:lnT w="12700" cap="flat" cmpd="sng" algn="ctr">
                      <a:solidFill>
                        <a:srgbClr val="FEE600"/>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4098223410"/>
                  </a:ext>
                </a:extLst>
              </a:tr>
              <a:tr h="647718">
                <a:tc>
                  <a:txBody>
                    <a:bodyPr/>
                    <a:lstStyle/>
                    <a:p>
                      <a:pPr algn="l" fontAlgn="b"/>
                      <a:r>
                        <a:rPr lang="de-DE" sz="2400" u="none" strike="noStrike">
                          <a:effectLst/>
                          <a:latin typeface="Amalia" panose="020B0504020203020204" pitchFamily="34" charset="0"/>
                        </a:rPr>
                        <a:t>China*</a:t>
                      </a:r>
                      <a:endParaRPr lang="de-DE" sz="2400" b="0" i="0" u="none" strike="noStrike">
                        <a:solidFill>
                          <a:schemeClr val="bg1">
                            <a:lumMod val="50000"/>
                          </a:schemeClr>
                        </a:solidFill>
                        <a:effectLst/>
                        <a:latin typeface="Amalia" panose="020B0504020203020204" pitchFamily="34" charset="0"/>
                      </a:endParaRPr>
                    </a:p>
                  </a:txBody>
                  <a:tcPr marL="7620" marR="7620" marT="7620" marB="0" anchor="ctr">
                    <a:lnB w="28575" cap="flat" cmpd="sng" algn="ctr">
                      <a:solidFill>
                        <a:srgbClr val="FEE600"/>
                      </a:solidFill>
                      <a:prstDash val="solid"/>
                      <a:round/>
                      <a:headEnd type="none" w="med" len="med"/>
                      <a:tailEnd type="none" w="med" len="med"/>
                    </a:lnB>
                  </a:tcPr>
                </a:tc>
                <a:tc>
                  <a:txBody>
                    <a:bodyPr/>
                    <a:lstStyle/>
                    <a:p>
                      <a:pPr algn="ctr" fontAlgn="b"/>
                      <a:r>
                        <a:rPr lang="de-DE" sz="2400" b="1" u="none" strike="noStrike">
                          <a:solidFill>
                            <a:srgbClr val="009600"/>
                          </a:solidFill>
                          <a:effectLst/>
                          <a:latin typeface="Amalia" panose="020B0504020203020204" pitchFamily="34" charset="0"/>
                        </a:rPr>
                        <a:t>2.3</a:t>
                      </a:r>
                      <a:endParaRPr lang="de-DE" sz="2400" b="1" i="0" u="none" strike="noStrike">
                        <a:solidFill>
                          <a:srgbClr val="009600"/>
                        </a:solidFill>
                        <a:effectLst/>
                        <a:latin typeface="Amalia" panose="020B0504020203020204" pitchFamily="34" charset="0"/>
                      </a:endParaRPr>
                    </a:p>
                  </a:txBody>
                  <a:tcPr marL="7620" marR="7620" marT="7620" marB="0" anchor="ctr">
                    <a:lnB w="28575" cap="flat" cmpd="sng" algn="ctr">
                      <a:solidFill>
                        <a:srgbClr val="FEE600"/>
                      </a:solidFill>
                      <a:prstDash val="solid"/>
                      <a:round/>
                      <a:headEnd type="none" w="med" len="med"/>
                      <a:tailEnd type="none" w="med" len="med"/>
                    </a:lnB>
                    <a:solidFill>
                      <a:schemeClr val="bg1">
                        <a:lumMod val="95000"/>
                      </a:schemeClr>
                    </a:solidFill>
                  </a:tcPr>
                </a:tc>
                <a:tc>
                  <a:txBody>
                    <a:bodyPr/>
                    <a:lstStyle/>
                    <a:p>
                      <a:pPr algn="ctr" fontAlgn="b"/>
                      <a:r>
                        <a:rPr lang="de-DE" sz="2400" u="none" strike="noStrike">
                          <a:effectLst/>
                          <a:latin typeface="Amalia" panose="020B0504020203020204" pitchFamily="34" charset="0"/>
                        </a:rPr>
                        <a:t>8.5</a:t>
                      </a:r>
                      <a:endParaRPr lang="de-DE" sz="2400" b="1" i="0" u="none" strike="noStrike">
                        <a:solidFill>
                          <a:schemeClr val="bg1">
                            <a:lumMod val="50000"/>
                          </a:schemeClr>
                        </a:solidFill>
                        <a:effectLst/>
                        <a:latin typeface="Amalia" panose="020B0504020203020204" pitchFamily="34" charset="0"/>
                      </a:endParaRPr>
                    </a:p>
                  </a:txBody>
                  <a:tcPr marL="7620" marR="7620" marT="7620" marB="0" anchor="ctr">
                    <a:lnB w="28575" cap="flat" cmpd="sng" algn="ctr">
                      <a:solidFill>
                        <a:srgbClr val="FEE600"/>
                      </a:solidFill>
                      <a:prstDash val="solid"/>
                      <a:round/>
                      <a:headEnd type="none" w="med" len="med"/>
                      <a:tailEnd type="none" w="med" len="med"/>
                    </a:lnB>
                  </a:tcPr>
                </a:tc>
                <a:tc>
                  <a:txBody>
                    <a:bodyPr/>
                    <a:lstStyle/>
                    <a:p>
                      <a:pPr algn="ctr" fontAlgn="b"/>
                      <a:r>
                        <a:rPr lang="de-DE" sz="2400" u="none" strike="noStrike">
                          <a:effectLst/>
                          <a:latin typeface="Amalia" panose="020B0504020203020204" pitchFamily="34" charset="0"/>
                        </a:rPr>
                        <a:t>5.5</a:t>
                      </a:r>
                      <a:endParaRPr lang="de-DE" sz="2400" b="0" i="0" u="none" strike="noStrike">
                        <a:solidFill>
                          <a:schemeClr val="bg1">
                            <a:lumMod val="50000"/>
                          </a:schemeClr>
                        </a:solidFill>
                        <a:effectLst/>
                        <a:latin typeface="Amalia" panose="020B0504020203020204" pitchFamily="34" charset="0"/>
                      </a:endParaRPr>
                    </a:p>
                  </a:txBody>
                  <a:tcPr marL="7620" marR="7620" marT="7620" marB="0" anchor="ctr">
                    <a:lnB w="28575" cap="flat" cmpd="sng" algn="ctr">
                      <a:solidFill>
                        <a:srgbClr val="FEE600"/>
                      </a:solidFill>
                      <a:prstDash val="solid"/>
                      <a:round/>
                      <a:headEnd type="none" w="med" len="med"/>
                      <a:tailEnd type="none" w="med" len="med"/>
                    </a:lnB>
                  </a:tcPr>
                </a:tc>
                <a:tc>
                  <a:txBody>
                    <a:bodyPr/>
                    <a:lstStyle/>
                    <a:p>
                      <a:pPr algn="ctr" fontAlgn="b"/>
                      <a:r>
                        <a:rPr lang="de-DE" sz="2400" u="none" strike="noStrike" dirty="0">
                          <a:effectLst/>
                          <a:latin typeface="Amalia" panose="020B0504020203020204" pitchFamily="34" charset="0"/>
                        </a:rPr>
                        <a:t>5.4</a:t>
                      </a:r>
                      <a:endParaRPr lang="de-DE" sz="2400" b="0" i="0" u="none" strike="noStrike" dirty="0">
                        <a:solidFill>
                          <a:schemeClr val="bg1">
                            <a:lumMod val="50000"/>
                          </a:schemeClr>
                        </a:solidFill>
                        <a:effectLst/>
                        <a:latin typeface="Amalia" panose="020B0504020203020204" pitchFamily="34" charset="0"/>
                      </a:endParaRPr>
                    </a:p>
                  </a:txBody>
                  <a:tcPr marL="7620" marR="7620" marT="7620" marB="0" anchor="ctr">
                    <a:lnB w="28575" cap="flat" cmpd="sng" algn="ctr">
                      <a:solidFill>
                        <a:srgbClr val="FEE600"/>
                      </a:solidFill>
                      <a:prstDash val="solid"/>
                      <a:round/>
                      <a:headEnd type="none" w="med" len="med"/>
                      <a:tailEnd type="none" w="med" len="med"/>
                    </a:lnB>
                  </a:tcPr>
                </a:tc>
                <a:extLst>
                  <a:ext uri="{0D108BD9-81ED-4DB2-BD59-A6C34878D82A}">
                    <a16:rowId xmlns:a16="http://schemas.microsoft.com/office/drawing/2014/main" val="624761850"/>
                  </a:ext>
                </a:extLst>
              </a:tr>
            </a:tbl>
          </a:graphicData>
        </a:graphic>
      </p:graphicFrame>
      <p:graphicFrame>
        <p:nvGraphicFramePr>
          <p:cNvPr id="6" name="Table 9">
            <a:extLst>
              <a:ext uri="{FF2B5EF4-FFF2-40B4-BE49-F238E27FC236}">
                <a16:creationId xmlns:a16="http://schemas.microsoft.com/office/drawing/2014/main" id="{76A14C0E-A993-4B3B-A29B-B9D47E57A789}"/>
              </a:ext>
            </a:extLst>
          </p:cNvPr>
          <p:cNvGraphicFramePr>
            <a:graphicFrameLocks noGrp="1"/>
          </p:cNvGraphicFramePr>
          <p:nvPr>
            <p:extLst>
              <p:ext uri="{D42A27DB-BD31-4B8C-83A1-F6EECF244321}">
                <p14:modId xmlns:p14="http://schemas.microsoft.com/office/powerpoint/2010/main" val="2182577630"/>
              </p:ext>
            </p:extLst>
          </p:nvPr>
        </p:nvGraphicFramePr>
        <p:xfrm>
          <a:off x="3532125" y="5040480"/>
          <a:ext cx="6209295" cy="1604518"/>
        </p:xfrm>
        <a:graphic>
          <a:graphicData uri="http://schemas.openxmlformats.org/drawingml/2006/table">
            <a:tbl>
              <a:tblPr firstRow="1" bandRow="1">
                <a:tableStyleId>{3B4B98B0-60AC-42C2-AFA5-B58CD77FA1E5}</a:tableStyleId>
              </a:tblPr>
              <a:tblGrid>
                <a:gridCol w="1836185">
                  <a:extLst>
                    <a:ext uri="{9D8B030D-6E8A-4147-A177-3AD203B41FA5}">
                      <a16:colId xmlns:a16="http://schemas.microsoft.com/office/drawing/2014/main" val="3111173038"/>
                    </a:ext>
                  </a:extLst>
                </a:gridCol>
                <a:gridCol w="1023257">
                  <a:extLst>
                    <a:ext uri="{9D8B030D-6E8A-4147-A177-3AD203B41FA5}">
                      <a16:colId xmlns:a16="http://schemas.microsoft.com/office/drawing/2014/main" val="2087522892"/>
                    </a:ext>
                  </a:extLst>
                </a:gridCol>
                <a:gridCol w="1143000">
                  <a:extLst>
                    <a:ext uri="{9D8B030D-6E8A-4147-A177-3AD203B41FA5}">
                      <a16:colId xmlns:a16="http://schemas.microsoft.com/office/drawing/2014/main" val="2698652355"/>
                    </a:ext>
                  </a:extLst>
                </a:gridCol>
                <a:gridCol w="653143">
                  <a:extLst>
                    <a:ext uri="{9D8B030D-6E8A-4147-A177-3AD203B41FA5}">
                      <a16:colId xmlns:a16="http://schemas.microsoft.com/office/drawing/2014/main" val="4132207181"/>
                    </a:ext>
                  </a:extLst>
                </a:gridCol>
                <a:gridCol w="1553710">
                  <a:extLst>
                    <a:ext uri="{9D8B030D-6E8A-4147-A177-3AD203B41FA5}">
                      <a16:colId xmlns:a16="http://schemas.microsoft.com/office/drawing/2014/main" val="3874836482"/>
                    </a:ext>
                  </a:extLst>
                </a:gridCol>
              </a:tblGrid>
              <a:tr h="301693">
                <a:tc>
                  <a:txBody>
                    <a:bodyPr/>
                    <a:lstStyle/>
                    <a:p>
                      <a:endParaRPr lang="en-GB" sz="1600">
                        <a:latin typeface="Amalia" panose="020B0504020203020204" pitchFamily="34" charset="0"/>
                      </a:endParaRPr>
                    </a:p>
                  </a:txBody>
                  <a:tcPr/>
                </a:tc>
                <a:tc>
                  <a:txBody>
                    <a:bodyPr/>
                    <a:lstStyle/>
                    <a:p>
                      <a:pPr algn="ctr"/>
                      <a:r>
                        <a:rPr lang="en-GB" sz="1600">
                          <a:latin typeface="Amalia" panose="020B0504020203020204" pitchFamily="34" charset="0"/>
                        </a:rPr>
                        <a:t>2008</a:t>
                      </a:r>
                    </a:p>
                  </a:txBody>
                  <a:tcPr/>
                </a:tc>
                <a:tc>
                  <a:txBody>
                    <a:bodyPr/>
                    <a:lstStyle/>
                    <a:p>
                      <a:pPr algn="ctr"/>
                      <a:r>
                        <a:rPr lang="en-GB" sz="1600">
                          <a:latin typeface="Amalia" panose="020B0504020203020204" pitchFamily="34" charset="0"/>
                        </a:rPr>
                        <a:t>2009</a:t>
                      </a:r>
                    </a:p>
                  </a:txBody>
                  <a:tcPr/>
                </a:tc>
                <a:tc>
                  <a:txBody>
                    <a:bodyPr/>
                    <a:lstStyle/>
                    <a:p>
                      <a:pPr algn="ctr"/>
                      <a:r>
                        <a:rPr lang="en-GB" sz="1600">
                          <a:latin typeface="Amalia" panose="020B0504020203020204" pitchFamily="34" charset="0"/>
                        </a:rPr>
                        <a:t>….</a:t>
                      </a:r>
                    </a:p>
                  </a:txBody>
                  <a:tcPr/>
                </a:tc>
                <a:tc>
                  <a:txBody>
                    <a:bodyPr/>
                    <a:lstStyle/>
                    <a:p>
                      <a:pPr algn="ctr"/>
                      <a:r>
                        <a:rPr lang="en-GB" sz="1600">
                          <a:latin typeface="Amalia" panose="020B0504020203020204" pitchFamily="34" charset="0"/>
                        </a:rPr>
                        <a:t>2020</a:t>
                      </a:r>
                    </a:p>
                  </a:txBody>
                  <a:tcPr/>
                </a:tc>
                <a:extLst>
                  <a:ext uri="{0D108BD9-81ED-4DB2-BD59-A6C34878D82A}">
                    <a16:rowId xmlns:a16="http://schemas.microsoft.com/office/drawing/2014/main" val="2980498452"/>
                  </a:ext>
                </a:extLst>
              </a:tr>
              <a:tr h="426720">
                <a:tc>
                  <a:txBody>
                    <a:bodyPr/>
                    <a:lstStyle/>
                    <a:p>
                      <a:r>
                        <a:rPr lang="de-DE" b="1" noProof="0">
                          <a:latin typeface="Amalia" panose="020B0504020203020204" pitchFamily="34" charset="0"/>
                        </a:rPr>
                        <a:t>Privater Konsum</a:t>
                      </a:r>
                    </a:p>
                  </a:txBody>
                  <a:tcPr anchor="ctr"/>
                </a:tc>
                <a:tc>
                  <a:txBody>
                    <a:bodyPr/>
                    <a:lstStyle/>
                    <a:p>
                      <a:pPr algn="ctr"/>
                      <a:r>
                        <a:rPr lang="en-GB" sz="1600">
                          <a:latin typeface="Amalia" panose="020B0504020203020204" pitchFamily="34" charset="0"/>
                        </a:rPr>
                        <a:t>0.9</a:t>
                      </a:r>
                    </a:p>
                  </a:txBody>
                  <a:tcPr anchor="ctr">
                    <a:solidFill>
                      <a:schemeClr val="accent1">
                        <a:alpha val="10000"/>
                      </a:schemeClr>
                    </a:solidFill>
                  </a:tcPr>
                </a:tc>
                <a:tc>
                  <a:txBody>
                    <a:bodyPr/>
                    <a:lstStyle/>
                    <a:p>
                      <a:pPr algn="ctr"/>
                      <a:r>
                        <a:rPr lang="en-GB" sz="1600">
                          <a:latin typeface="Amalia" panose="020B0504020203020204" pitchFamily="34" charset="0"/>
                        </a:rPr>
                        <a:t>0.9</a:t>
                      </a:r>
                    </a:p>
                  </a:txBody>
                  <a:tcPr anchor="ctr">
                    <a:solidFill>
                      <a:schemeClr val="accent1">
                        <a:alpha val="10000"/>
                      </a:schemeClr>
                    </a:solidFill>
                  </a:tcPr>
                </a:tc>
                <a:tc>
                  <a:txBody>
                    <a:bodyPr/>
                    <a:lstStyle/>
                    <a:p>
                      <a:pPr algn="ctr"/>
                      <a:endParaRPr lang="en-GB" sz="1600" b="1">
                        <a:solidFill>
                          <a:srgbClr val="C00000"/>
                        </a:solidFill>
                        <a:latin typeface="Amalia" panose="020B0504020203020204" pitchFamily="34" charset="0"/>
                      </a:endParaRPr>
                    </a:p>
                  </a:txBody>
                  <a:tcPr anchor="ctr"/>
                </a:tc>
                <a:tc>
                  <a:txBody>
                    <a:bodyPr/>
                    <a:lstStyle/>
                    <a:p>
                      <a:pPr algn="ctr"/>
                      <a:r>
                        <a:rPr lang="en-GB" sz="1600" b="1">
                          <a:solidFill>
                            <a:srgbClr val="C00000"/>
                          </a:solidFill>
                          <a:latin typeface="Amalia" panose="020B0504020203020204" pitchFamily="34" charset="0"/>
                        </a:rPr>
                        <a:t>-9.2</a:t>
                      </a:r>
                    </a:p>
                  </a:txBody>
                  <a:tcPr anchor="ctr">
                    <a:solidFill>
                      <a:schemeClr val="accent1">
                        <a:alpha val="50000"/>
                      </a:schemeClr>
                    </a:solidFill>
                  </a:tcPr>
                </a:tc>
                <a:extLst>
                  <a:ext uri="{0D108BD9-81ED-4DB2-BD59-A6C34878D82A}">
                    <a16:rowId xmlns:a16="http://schemas.microsoft.com/office/drawing/2014/main" val="2909209314"/>
                  </a:ext>
                </a:extLst>
              </a:tr>
              <a:tr h="301693">
                <a:tc>
                  <a:txBody>
                    <a:bodyPr/>
                    <a:lstStyle/>
                    <a:p>
                      <a:r>
                        <a:rPr lang="de-DE" sz="1579" b="1" kern="1200" noProof="0">
                          <a:effectLst/>
                          <a:latin typeface="Amalia" panose="020B0504020203020204" pitchFamily="34" charset="0"/>
                        </a:rPr>
                        <a:t>Brutto-Anlage-investitionen</a:t>
                      </a:r>
                      <a:endParaRPr lang="de-DE" b="1" noProof="0">
                        <a:latin typeface="Amalia" panose="020B0504020203020204" pitchFamily="34" charset="0"/>
                      </a:endParaRPr>
                    </a:p>
                  </a:txBody>
                  <a:tcPr anchor="ctr"/>
                </a:tc>
                <a:tc>
                  <a:txBody>
                    <a:bodyPr/>
                    <a:lstStyle/>
                    <a:p>
                      <a:pPr algn="ctr"/>
                      <a:r>
                        <a:rPr lang="en-GB" sz="1600">
                          <a:latin typeface="Amalia" panose="020B0504020203020204" pitchFamily="34" charset="0"/>
                        </a:rPr>
                        <a:t>1.6</a:t>
                      </a:r>
                    </a:p>
                  </a:txBody>
                  <a:tcPr anchor="ctr">
                    <a:solidFill>
                      <a:schemeClr val="bg1">
                        <a:lumMod val="95000"/>
                        <a:alpha val="80000"/>
                      </a:schemeClr>
                    </a:solidFill>
                  </a:tcPr>
                </a:tc>
                <a:tc>
                  <a:txBody>
                    <a:bodyPr/>
                    <a:lstStyle/>
                    <a:p>
                      <a:pPr algn="ctr"/>
                      <a:r>
                        <a:rPr lang="en-GB" sz="1600" b="1">
                          <a:solidFill>
                            <a:srgbClr val="C00000"/>
                          </a:solidFill>
                          <a:latin typeface="Amalia" panose="020B0504020203020204" pitchFamily="34" charset="0"/>
                        </a:rPr>
                        <a:t>-7.2</a:t>
                      </a:r>
                    </a:p>
                  </a:txBody>
                  <a:tcPr anchor="ctr">
                    <a:solidFill>
                      <a:schemeClr val="bg1">
                        <a:lumMod val="95000"/>
                        <a:alpha val="80000"/>
                      </a:schemeClr>
                    </a:solidFill>
                  </a:tcPr>
                </a:tc>
                <a:tc>
                  <a:txBody>
                    <a:bodyPr/>
                    <a:lstStyle/>
                    <a:p>
                      <a:pPr algn="ctr"/>
                      <a:endParaRPr lang="en-GB" sz="1600" b="1">
                        <a:solidFill>
                          <a:srgbClr val="C00000"/>
                        </a:solidFill>
                        <a:latin typeface="Amalia" panose="020B0504020203020204" pitchFamily="34" charset="0"/>
                      </a:endParaRPr>
                    </a:p>
                  </a:txBody>
                  <a:tcPr anchor="ctr"/>
                </a:tc>
                <a:tc>
                  <a:txBody>
                    <a:bodyPr/>
                    <a:lstStyle/>
                    <a:p>
                      <a:pPr algn="ctr"/>
                      <a:r>
                        <a:rPr lang="en-GB" sz="1600" b="1">
                          <a:solidFill>
                            <a:srgbClr val="C00000"/>
                          </a:solidFill>
                          <a:latin typeface="Amalia" panose="020B0504020203020204" pitchFamily="34" charset="0"/>
                        </a:rPr>
                        <a:t>-5.8</a:t>
                      </a:r>
                    </a:p>
                  </a:txBody>
                  <a:tcPr anchor="ctr">
                    <a:solidFill>
                      <a:schemeClr val="bg1">
                        <a:lumMod val="85000"/>
                      </a:schemeClr>
                    </a:solidFill>
                  </a:tcPr>
                </a:tc>
                <a:extLst>
                  <a:ext uri="{0D108BD9-81ED-4DB2-BD59-A6C34878D82A}">
                    <a16:rowId xmlns:a16="http://schemas.microsoft.com/office/drawing/2014/main" val="2820500812"/>
                  </a:ext>
                </a:extLst>
              </a:tr>
            </a:tbl>
          </a:graphicData>
        </a:graphic>
      </p:graphicFrame>
      <p:cxnSp>
        <p:nvCxnSpPr>
          <p:cNvPr id="10" name="Straight Arrow Connector 9">
            <a:extLst>
              <a:ext uri="{FF2B5EF4-FFF2-40B4-BE49-F238E27FC236}">
                <a16:creationId xmlns:a16="http://schemas.microsoft.com/office/drawing/2014/main" id="{F7C18EC7-160F-4D1E-8AF7-30A8EE702569}"/>
              </a:ext>
            </a:extLst>
          </p:cNvPr>
          <p:cNvCxnSpPr>
            <a:cxnSpLocks/>
          </p:cNvCxnSpPr>
          <p:nvPr/>
        </p:nvCxnSpPr>
        <p:spPr bwMode="gray">
          <a:xfrm flipV="1">
            <a:off x="7256038" y="6269069"/>
            <a:ext cx="1329070" cy="250624"/>
          </a:xfrm>
          <a:prstGeom prst="straightConnector1">
            <a:avLst/>
          </a:prstGeom>
          <a:ln w="38100">
            <a:solidFill>
              <a:srgbClr val="0096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D5DE1B2-B566-407B-9BE1-4F15A16FA133}"/>
              </a:ext>
            </a:extLst>
          </p:cNvPr>
          <p:cNvCxnSpPr>
            <a:cxnSpLocks/>
          </p:cNvCxnSpPr>
          <p:nvPr/>
        </p:nvCxnSpPr>
        <p:spPr bwMode="gray">
          <a:xfrm>
            <a:off x="7256038" y="5608823"/>
            <a:ext cx="1329070" cy="233916"/>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5526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0-#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0-#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0-#ppt_w/2"/>
                                          </p:val>
                                        </p:tav>
                                        <p:tav tm="100000">
                                          <p:val>
                                            <p:strVal val="#ppt_x"/>
                                          </p:val>
                                        </p:tav>
                                      </p:tavLst>
                                    </p:anim>
                                    <p:anim calcmode="lin" valueType="num">
                                      <p:cBhvr additive="base">
                                        <p:cTn id="20" dur="500" fill="hold"/>
                                        <p:tgtEl>
                                          <p:spTgt spid="16"/>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500" fill="hold"/>
                                        <p:tgtEl>
                                          <p:spTgt spid="14"/>
                                        </p:tgtEl>
                                        <p:attrNameLst>
                                          <p:attrName>ppt_x</p:attrName>
                                        </p:attrNameLst>
                                      </p:cBhvr>
                                      <p:tavLst>
                                        <p:tav tm="0">
                                          <p:val>
                                            <p:strVal val="0-#ppt_w/2"/>
                                          </p:val>
                                        </p:tav>
                                        <p:tav tm="100000">
                                          <p:val>
                                            <p:strVal val="#ppt_x"/>
                                          </p:val>
                                        </p:tav>
                                      </p:tavLst>
                                    </p:anim>
                                    <p:anim calcmode="lin" valueType="num">
                                      <p:cBhvr additive="base">
                                        <p:cTn id="24"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E3184C-8BE1-4D74-A81E-A7F9C375F77F}"/>
              </a:ext>
            </a:extLst>
          </p:cNvPr>
          <p:cNvSpPr>
            <a:spLocks noGrp="1"/>
          </p:cNvSpPr>
          <p:nvPr>
            <p:ph type="title"/>
          </p:nvPr>
        </p:nvSpPr>
        <p:spPr/>
        <p:txBody>
          <a:bodyPr/>
          <a:lstStyle/>
          <a:p>
            <a:r>
              <a:rPr lang="de-DE" sz="2400" dirty="0"/>
              <a:t>ÖSTERREICH: KONJUNKTUR</a:t>
            </a:r>
            <a:br>
              <a:rPr lang="de-DE" sz="2400" dirty="0"/>
            </a:br>
            <a:r>
              <a:rPr lang="de-DE" sz="2400" b="0" dirty="0">
                <a:solidFill>
                  <a:schemeClr val="bg1">
                    <a:lumMod val="50000"/>
                  </a:schemeClr>
                </a:solidFill>
              </a:rPr>
              <a:t>Dynamik nimmt ab, bleibt aber überdurchschnittlich</a:t>
            </a:r>
          </a:p>
        </p:txBody>
      </p:sp>
      <p:sp>
        <p:nvSpPr>
          <p:cNvPr id="5" name="Content Placeholder 50">
            <a:extLst>
              <a:ext uri="{FF2B5EF4-FFF2-40B4-BE49-F238E27FC236}">
                <a16:creationId xmlns:a16="http://schemas.microsoft.com/office/drawing/2014/main" id="{279CBBDE-3FBE-4604-9E76-37A1EE05BCA5}"/>
              </a:ext>
            </a:extLst>
          </p:cNvPr>
          <p:cNvSpPr txBox="1">
            <a:spLocks/>
          </p:cNvSpPr>
          <p:nvPr/>
        </p:nvSpPr>
        <p:spPr bwMode="gray">
          <a:xfrm>
            <a:off x="634629" y="6622877"/>
            <a:ext cx="9875002" cy="228588"/>
          </a:xfrm>
          <a:prstGeom prst="rect">
            <a:avLst/>
          </a:prstGeom>
        </p:spPr>
        <p:txBody>
          <a:bodyPr vert="horz" lIns="0" tIns="0" rIns="0" bIns="0" rtlCol="0" anchor="b" anchorCtr="0">
            <a:noAutofit/>
          </a:bodyPr>
          <a:lstStyle>
            <a:lvl1pPr algn="l" defTabSz="802020" rtl="0" eaLnBrk="1" latinLnBrk="0" hangingPunct="1">
              <a:lnSpc>
                <a:spcPct val="90000"/>
              </a:lnSpc>
              <a:spcBef>
                <a:spcPct val="0"/>
              </a:spcBef>
              <a:buNone/>
              <a:defRPr sz="2400" b="1" kern="1200" cap="none" baseline="0">
                <a:solidFill>
                  <a:schemeClr val="tx1"/>
                </a:solidFill>
                <a:latin typeface="+mj-lt"/>
                <a:ea typeface="+mj-ea"/>
                <a:cs typeface="+mj-cs"/>
              </a:defRPr>
            </a:lvl1pPr>
          </a:lstStyle>
          <a:p>
            <a:pPr>
              <a:spcBef>
                <a:spcPts val="0"/>
              </a:spcBef>
            </a:pPr>
            <a:r>
              <a:rPr lang="de-DE" sz="1000" b="0" dirty="0">
                <a:solidFill>
                  <a:srgbClr val="808080">
                    <a:alpha val="100000"/>
                  </a:srgbClr>
                </a:solidFill>
                <a:latin typeface="Amalia" panose="020B0504020203020204" pitchFamily="34" charset="0"/>
                <a:ea typeface="+mn-ea"/>
              </a:rPr>
              <a:t>* Q4 19 = 100</a:t>
            </a:r>
          </a:p>
          <a:p>
            <a:pPr>
              <a:spcBef>
                <a:spcPts val="0"/>
              </a:spcBef>
            </a:pPr>
            <a:r>
              <a:rPr lang="de-DE" sz="1000" b="0" dirty="0">
                <a:solidFill>
                  <a:srgbClr val="808080">
                    <a:alpha val="100000"/>
                  </a:srgbClr>
                </a:solidFill>
                <a:latin typeface="Amalia" panose="020B0504020203020204" pitchFamily="34" charset="0"/>
                <a:ea typeface="+mn-ea"/>
              </a:rPr>
              <a:t>Quelle: </a:t>
            </a:r>
            <a:r>
              <a:rPr lang="en-US" sz="1000" b="0" dirty="0">
                <a:solidFill>
                  <a:srgbClr val="808080">
                    <a:alpha val="100000"/>
                  </a:srgbClr>
                </a:solidFill>
                <a:latin typeface="Amalia" panose="020B0504020203020204" pitchFamily="34" charset="0"/>
                <a:ea typeface="+mn-ea"/>
              </a:rPr>
              <a:t>Refinitiv, Raiffeisen Research</a:t>
            </a:r>
            <a:endParaRPr lang="de-DE" sz="1000" b="0" dirty="0">
              <a:solidFill>
                <a:srgbClr val="808080">
                  <a:alpha val="100000"/>
                </a:srgbClr>
              </a:solidFill>
              <a:latin typeface="Amalia" panose="020B0504020203020204" pitchFamily="34" charset="0"/>
              <a:ea typeface="+mn-ea"/>
            </a:endParaRPr>
          </a:p>
        </p:txBody>
      </p:sp>
      <p:graphicFrame>
        <p:nvGraphicFramePr>
          <p:cNvPr id="6" name="Diagramm 5">
            <a:extLst>
              <a:ext uri="{FF2B5EF4-FFF2-40B4-BE49-F238E27FC236}">
                <a16:creationId xmlns:a16="http://schemas.microsoft.com/office/drawing/2014/main" id="{00000000-0008-0000-1B00-000038000000}"/>
              </a:ext>
            </a:extLst>
          </p:cNvPr>
          <p:cNvGraphicFramePr>
            <a:graphicFrameLocks/>
          </p:cNvGraphicFramePr>
          <p:nvPr>
            <p:extLst>
              <p:ext uri="{D42A27DB-BD31-4B8C-83A1-F6EECF244321}">
                <p14:modId xmlns:p14="http://schemas.microsoft.com/office/powerpoint/2010/main" val="2395656809"/>
              </p:ext>
            </p:extLst>
          </p:nvPr>
        </p:nvGraphicFramePr>
        <p:xfrm>
          <a:off x="107187" y="1023530"/>
          <a:ext cx="10319316" cy="5713641"/>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feld 1">
            <a:extLst>
              <a:ext uri="{FF2B5EF4-FFF2-40B4-BE49-F238E27FC236}">
                <a16:creationId xmlns:a16="http://schemas.microsoft.com/office/drawing/2014/main" id="{82FD92FA-DDBB-47BE-9CA4-BA7B7E6A3DF4}"/>
              </a:ext>
            </a:extLst>
          </p:cNvPr>
          <p:cNvSpPr txBox="1"/>
          <p:nvPr/>
        </p:nvSpPr>
        <p:spPr>
          <a:xfrm>
            <a:off x="7343223" y="3373865"/>
            <a:ext cx="2353212" cy="3716104"/>
          </a:xfrm>
          <a:prstGeom prst="rect">
            <a:avLst/>
          </a:prstGeom>
        </p:spPr>
        <p:txBody>
          <a:bodyPr wrap="square" lIns="91435" tIns="45717" rIns="91435" bIns="45717"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2000" b="1" dirty="0">
                <a:solidFill>
                  <a:schemeClr val="tx1">
                    <a:lumMod val="65000"/>
                    <a:lumOff val="35000"/>
                  </a:schemeClr>
                </a:solidFill>
                <a:latin typeface="Amalia" panose="020B0504020203020204" pitchFamily="34" charset="0"/>
              </a:rPr>
              <a:t>Prognose</a:t>
            </a:r>
            <a:endParaRPr lang="de-DE" sz="2000" dirty="0">
              <a:solidFill>
                <a:schemeClr val="tx1">
                  <a:lumMod val="65000"/>
                  <a:lumOff val="35000"/>
                </a:schemeClr>
              </a:solidFill>
              <a:latin typeface="Amalia" panose="020B0504020203020204" pitchFamily="34" charset="0"/>
            </a:endParaRPr>
          </a:p>
          <a:p>
            <a:endParaRPr lang="de-DE" sz="2000" dirty="0">
              <a:solidFill>
                <a:schemeClr val="tx1">
                  <a:lumMod val="65000"/>
                  <a:lumOff val="35000"/>
                </a:schemeClr>
              </a:solidFill>
              <a:latin typeface="Amalia" panose="020B0504020203020204" pitchFamily="34" charset="0"/>
            </a:endParaRPr>
          </a:p>
          <a:p>
            <a:r>
              <a:rPr lang="de-DE" sz="2000" b="1" dirty="0">
                <a:solidFill>
                  <a:schemeClr val="tx1">
                    <a:lumMod val="65000"/>
                    <a:lumOff val="35000"/>
                  </a:schemeClr>
                </a:solidFill>
                <a:latin typeface="Amalia" panose="020B0504020203020204" pitchFamily="34" charset="0"/>
              </a:rPr>
              <a:t>2020:    -6,7 %</a:t>
            </a:r>
          </a:p>
          <a:p>
            <a:r>
              <a:rPr lang="de-DE" sz="2000" b="1" dirty="0">
                <a:solidFill>
                  <a:schemeClr val="tx1">
                    <a:lumMod val="65000"/>
                    <a:lumOff val="35000"/>
                  </a:schemeClr>
                </a:solidFill>
                <a:latin typeface="Amalia" panose="020B0504020203020204" pitchFamily="34" charset="0"/>
              </a:rPr>
              <a:t>2021e: +4,5 %</a:t>
            </a:r>
          </a:p>
          <a:p>
            <a:r>
              <a:rPr lang="de-DE" sz="2000" b="1" dirty="0">
                <a:solidFill>
                  <a:schemeClr val="tx1">
                    <a:lumMod val="65000"/>
                    <a:lumOff val="35000"/>
                  </a:schemeClr>
                </a:solidFill>
                <a:latin typeface="Amalia" panose="020B0504020203020204" pitchFamily="34" charset="0"/>
              </a:rPr>
              <a:t>2022e: +4,5 %</a:t>
            </a:r>
          </a:p>
        </p:txBody>
      </p:sp>
      <p:graphicFrame>
        <p:nvGraphicFramePr>
          <p:cNvPr id="8" name="Table 5">
            <a:extLst>
              <a:ext uri="{FF2B5EF4-FFF2-40B4-BE49-F238E27FC236}">
                <a16:creationId xmlns:a16="http://schemas.microsoft.com/office/drawing/2014/main" id="{E25F65B9-3D63-4ED6-B7F8-4BAA4E24E78B}"/>
              </a:ext>
            </a:extLst>
          </p:cNvPr>
          <p:cNvGraphicFramePr>
            <a:graphicFrameLocks noGrp="1"/>
          </p:cNvGraphicFramePr>
          <p:nvPr>
            <p:extLst>
              <p:ext uri="{D42A27DB-BD31-4B8C-83A1-F6EECF244321}">
                <p14:modId xmlns:p14="http://schemas.microsoft.com/office/powerpoint/2010/main" val="2542815462"/>
              </p:ext>
            </p:extLst>
          </p:nvPr>
        </p:nvGraphicFramePr>
        <p:xfrm>
          <a:off x="11153322" y="1137823"/>
          <a:ext cx="1892494" cy="5813161"/>
        </p:xfrm>
        <a:graphic>
          <a:graphicData uri="http://schemas.openxmlformats.org/drawingml/2006/table">
            <a:tbl>
              <a:tblPr firstRow="1" bandRow="1">
                <a:tableStyleId>{3B4B98B0-60AC-42C2-AFA5-B58CD77FA1E5}</a:tableStyleId>
              </a:tblPr>
              <a:tblGrid>
                <a:gridCol w="945364">
                  <a:extLst>
                    <a:ext uri="{9D8B030D-6E8A-4147-A177-3AD203B41FA5}">
                      <a16:colId xmlns:a16="http://schemas.microsoft.com/office/drawing/2014/main" val="2117060236"/>
                    </a:ext>
                  </a:extLst>
                </a:gridCol>
                <a:gridCol w="947130">
                  <a:extLst>
                    <a:ext uri="{9D8B030D-6E8A-4147-A177-3AD203B41FA5}">
                      <a16:colId xmlns:a16="http://schemas.microsoft.com/office/drawing/2014/main" val="2153341319"/>
                    </a:ext>
                  </a:extLst>
                </a:gridCol>
              </a:tblGrid>
              <a:tr h="847560">
                <a:tc>
                  <a:txBody>
                    <a:bodyPr/>
                    <a:lstStyle/>
                    <a:p>
                      <a:endParaRPr lang="en-GB" sz="1700">
                        <a:solidFill>
                          <a:schemeClr val="bg1">
                            <a:lumMod val="50000"/>
                          </a:schemeClr>
                        </a:solidFill>
                        <a:latin typeface="Amalia" panose="020B0504020203020204" pitchFamily="34" charset="0"/>
                      </a:endParaRPr>
                    </a:p>
                  </a:txBody>
                  <a:tcPr marL="91435" marR="91435" marT="45717" marB="45717" anchor="ctr">
                    <a:lnB w="28575" cap="flat" cmpd="sng" algn="ctr">
                      <a:solidFill>
                        <a:srgbClr val="FEE600"/>
                      </a:solidFill>
                      <a:prstDash val="solid"/>
                      <a:round/>
                      <a:headEnd type="none" w="med" len="med"/>
                      <a:tailEnd type="none" w="med" len="med"/>
                    </a:lnB>
                  </a:tcPr>
                </a:tc>
                <a:tc>
                  <a:txBody>
                    <a:bodyPr/>
                    <a:lstStyle/>
                    <a:p>
                      <a:pPr algn="ctr"/>
                      <a:r>
                        <a:rPr lang="en-GB" sz="1700" dirty="0">
                          <a:solidFill>
                            <a:schemeClr val="bg1">
                              <a:lumMod val="50000"/>
                            </a:schemeClr>
                          </a:solidFill>
                          <a:latin typeface="Amalia" panose="020B0504020203020204" pitchFamily="34" charset="0"/>
                        </a:rPr>
                        <a:t>BIP real (% </a:t>
                      </a:r>
                      <a:r>
                        <a:rPr lang="en-GB" sz="1700" dirty="0" err="1">
                          <a:solidFill>
                            <a:schemeClr val="bg1">
                              <a:lumMod val="50000"/>
                            </a:schemeClr>
                          </a:solidFill>
                          <a:latin typeface="Amalia" panose="020B0504020203020204" pitchFamily="34" charset="0"/>
                        </a:rPr>
                        <a:t>p.q.</a:t>
                      </a:r>
                      <a:r>
                        <a:rPr lang="en-GB" sz="1700" dirty="0">
                          <a:solidFill>
                            <a:schemeClr val="bg1">
                              <a:lumMod val="50000"/>
                            </a:schemeClr>
                          </a:solidFill>
                          <a:latin typeface="Amalia" panose="020B0504020203020204" pitchFamily="34" charset="0"/>
                        </a:rPr>
                        <a:t>)</a:t>
                      </a:r>
                    </a:p>
                  </a:txBody>
                  <a:tcPr marL="91435" marR="91435" marT="45717" marB="45717" anchor="ctr">
                    <a:lnB w="28575" cap="flat" cmpd="sng" algn="ctr">
                      <a:solidFill>
                        <a:srgbClr val="FEE600"/>
                      </a:solidFill>
                      <a:prstDash val="solid"/>
                      <a:round/>
                      <a:headEnd type="none" w="med" len="med"/>
                      <a:tailEnd type="none" w="med" len="med"/>
                    </a:lnB>
                  </a:tcPr>
                </a:tc>
                <a:extLst>
                  <a:ext uri="{0D108BD9-81ED-4DB2-BD59-A6C34878D82A}">
                    <a16:rowId xmlns:a16="http://schemas.microsoft.com/office/drawing/2014/main" val="743367850"/>
                  </a:ext>
                </a:extLst>
              </a:tr>
              <a:tr h="530133">
                <a:tc>
                  <a:txBody>
                    <a:bodyPr/>
                    <a:lstStyle/>
                    <a:p>
                      <a:r>
                        <a:rPr lang="en-GB" sz="1800" b="1" dirty="0">
                          <a:solidFill>
                            <a:schemeClr val="bg1">
                              <a:lumMod val="50000"/>
                            </a:schemeClr>
                          </a:solidFill>
                          <a:latin typeface="Amalia" panose="020B0504020203020204" pitchFamily="34" charset="0"/>
                        </a:rPr>
                        <a:t>Q1 20</a:t>
                      </a:r>
                    </a:p>
                  </a:txBody>
                  <a:tcPr marL="91435" marR="91435" marT="45717" marB="45717" anchor="ctr">
                    <a:lnT w="28575" cap="flat" cmpd="sng" algn="ctr">
                      <a:solidFill>
                        <a:srgbClr val="FEE600"/>
                      </a:solidFill>
                      <a:prstDash val="solid"/>
                      <a:round/>
                      <a:headEnd type="none" w="med" len="med"/>
                      <a:tailEnd type="none" w="med" len="med"/>
                    </a:lnT>
                  </a:tcPr>
                </a:tc>
                <a:tc>
                  <a:txBody>
                    <a:bodyPr/>
                    <a:lstStyle/>
                    <a:p>
                      <a:pPr algn="ctr"/>
                      <a:r>
                        <a:rPr lang="en-GB" sz="1800" dirty="0">
                          <a:solidFill>
                            <a:schemeClr val="bg1">
                              <a:lumMod val="50000"/>
                            </a:schemeClr>
                          </a:solidFill>
                          <a:latin typeface="Amalia" panose="020B0504020203020204" pitchFamily="34" charset="0"/>
                        </a:rPr>
                        <a:t>-2,4</a:t>
                      </a:r>
                    </a:p>
                  </a:txBody>
                  <a:tcPr marL="91435" marR="91435" marT="45717" marB="45717" anchor="ctr">
                    <a:lnT w="28575" cap="flat" cmpd="sng" algn="ctr">
                      <a:solidFill>
                        <a:srgbClr val="FEE600"/>
                      </a:solidFill>
                      <a:prstDash val="solid"/>
                      <a:round/>
                      <a:headEnd type="none" w="med" len="med"/>
                      <a:tailEnd type="none" w="med" len="med"/>
                    </a:lnT>
                  </a:tcPr>
                </a:tc>
                <a:extLst>
                  <a:ext uri="{0D108BD9-81ED-4DB2-BD59-A6C34878D82A}">
                    <a16:rowId xmlns:a16="http://schemas.microsoft.com/office/drawing/2014/main" val="195954977"/>
                  </a:ext>
                </a:extLst>
              </a:tr>
              <a:tr h="630622">
                <a:tc>
                  <a:txBody>
                    <a:bodyPr/>
                    <a:lstStyle/>
                    <a:p>
                      <a:r>
                        <a:rPr lang="en-GB" sz="1800" b="1">
                          <a:solidFill>
                            <a:schemeClr val="bg1">
                              <a:lumMod val="50000"/>
                            </a:schemeClr>
                          </a:solidFill>
                          <a:latin typeface="Amalia" panose="020B0504020203020204" pitchFamily="34" charset="0"/>
                        </a:rPr>
                        <a:t>Q2 20</a:t>
                      </a:r>
                    </a:p>
                  </a:txBody>
                  <a:tcPr marL="91435" marR="91435" marT="45717" marB="45717" anchor="ctr"/>
                </a:tc>
                <a:tc>
                  <a:txBody>
                    <a:bodyPr/>
                    <a:lstStyle/>
                    <a:p>
                      <a:pPr algn="ctr"/>
                      <a:r>
                        <a:rPr lang="en-GB" sz="1800" dirty="0">
                          <a:solidFill>
                            <a:schemeClr val="bg1">
                              <a:lumMod val="50000"/>
                            </a:schemeClr>
                          </a:solidFill>
                          <a:latin typeface="Amalia" panose="020B0504020203020204" pitchFamily="34" charset="0"/>
                        </a:rPr>
                        <a:t>-11,1</a:t>
                      </a:r>
                    </a:p>
                  </a:txBody>
                  <a:tcPr marL="91435" marR="91435" marT="45717" marB="45717" anchor="ctr"/>
                </a:tc>
                <a:extLst>
                  <a:ext uri="{0D108BD9-81ED-4DB2-BD59-A6C34878D82A}">
                    <a16:rowId xmlns:a16="http://schemas.microsoft.com/office/drawing/2014/main" val="3502014705"/>
                  </a:ext>
                </a:extLst>
              </a:tr>
              <a:tr h="630622">
                <a:tc>
                  <a:txBody>
                    <a:bodyPr/>
                    <a:lstStyle/>
                    <a:p>
                      <a:r>
                        <a:rPr lang="de-DE" sz="1800" b="1">
                          <a:solidFill>
                            <a:schemeClr val="bg1">
                              <a:lumMod val="50000"/>
                            </a:schemeClr>
                          </a:solidFill>
                          <a:latin typeface="Amalia" panose="020B0504020203020204" pitchFamily="34" charset="0"/>
                        </a:rPr>
                        <a:t>Q3 20</a:t>
                      </a:r>
                      <a:endParaRPr lang="en-GB" sz="1800" b="1">
                        <a:solidFill>
                          <a:schemeClr val="bg1">
                            <a:lumMod val="50000"/>
                          </a:schemeClr>
                        </a:solidFill>
                        <a:latin typeface="Amalia" panose="020B0504020203020204" pitchFamily="34" charset="0"/>
                      </a:endParaRPr>
                    </a:p>
                  </a:txBody>
                  <a:tcPr marL="91435" marR="91435" marT="45717" marB="45717" anchor="ctr"/>
                </a:tc>
                <a:tc>
                  <a:txBody>
                    <a:bodyPr/>
                    <a:lstStyle/>
                    <a:p>
                      <a:pPr algn="ctr"/>
                      <a:r>
                        <a:rPr lang="de-DE" sz="1800" dirty="0">
                          <a:solidFill>
                            <a:schemeClr val="bg1">
                              <a:lumMod val="50000"/>
                            </a:schemeClr>
                          </a:solidFill>
                          <a:latin typeface="Amalia" panose="020B0504020203020204" pitchFamily="34" charset="0"/>
                        </a:rPr>
                        <a:t>10,9</a:t>
                      </a:r>
                      <a:endParaRPr lang="en-GB" sz="1800" dirty="0">
                        <a:solidFill>
                          <a:schemeClr val="bg1">
                            <a:lumMod val="50000"/>
                          </a:schemeClr>
                        </a:solidFill>
                        <a:latin typeface="Amalia" panose="020B0504020203020204" pitchFamily="34" charset="0"/>
                      </a:endParaRPr>
                    </a:p>
                  </a:txBody>
                  <a:tcPr marL="91435" marR="91435" marT="45717" marB="45717" anchor="ctr"/>
                </a:tc>
                <a:extLst>
                  <a:ext uri="{0D108BD9-81ED-4DB2-BD59-A6C34878D82A}">
                    <a16:rowId xmlns:a16="http://schemas.microsoft.com/office/drawing/2014/main" val="3270223968"/>
                  </a:ext>
                </a:extLst>
              </a:tr>
              <a:tr h="630622">
                <a:tc>
                  <a:txBody>
                    <a:bodyPr/>
                    <a:lstStyle/>
                    <a:p>
                      <a:r>
                        <a:rPr lang="de-DE" sz="1800" b="1">
                          <a:solidFill>
                            <a:schemeClr val="bg1">
                              <a:lumMod val="50000"/>
                            </a:schemeClr>
                          </a:solidFill>
                          <a:latin typeface="Amalia" panose="020B0504020203020204" pitchFamily="34" charset="0"/>
                        </a:rPr>
                        <a:t>Q4 20</a:t>
                      </a:r>
                      <a:endParaRPr lang="en-GB" sz="1800" b="1">
                        <a:solidFill>
                          <a:schemeClr val="bg1">
                            <a:lumMod val="50000"/>
                          </a:schemeClr>
                        </a:solidFill>
                        <a:latin typeface="Amalia" panose="020B0504020203020204" pitchFamily="34" charset="0"/>
                      </a:endParaRPr>
                    </a:p>
                  </a:txBody>
                  <a:tcPr marL="91435" marR="91435" marT="45717" marB="45717" anchor="ctr"/>
                </a:tc>
                <a:tc>
                  <a:txBody>
                    <a:bodyPr/>
                    <a:lstStyle/>
                    <a:p>
                      <a:pPr algn="ctr"/>
                      <a:r>
                        <a:rPr lang="de-DE" sz="1800" dirty="0">
                          <a:solidFill>
                            <a:schemeClr val="bg1">
                              <a:lumMod val="50000"/>
                            </a:schemeClr>
                          </a:solidFill>
                          <a:latin typeface="Amalia" panose="020B0504020203020204" pitchFamily="34" charset="0"/>
                        </a:rPr>
                        <a:t>-2,0</a:t>
                      </a:r>
                      <a:endParaRPr lang="en-GB" sz="1800" dirty="0">
                        <a:solidFill>
                          <a:schemeClr val="bg1">
                            <a:lumMod val="50000"/>
                          </a:schemeClr>
                        </a:solidFill>
                        <a:latin typeface="Amalia" panose="020B0504020203020204" pitchFamily="34" charset="0"/>
                      </a:endParaRPr>
                    </a:p>
                  </a:txBody>
                  <a:tcPr marL="91435" marR="91435" marT="45717" marB="45717" anchor="ctr"/>
                </a:tc>
                <a:extLst>
                  <a:ext uri="{0D108BD9-81ED-4DB2-BD59-A6C34878D82A}">
                    <a16:rowId xmlns:a16="http://schemas.microsoft.com/office/drawing/2014/main" val="1144930285"/>
                  </a:ext>
                </a:extLst>
              </a:tr>
              <a:tr h="630622">
                <a:tc>
                  <a:txBody>
                    <a:bodyPr/>
                    <a:lstStyle/>
                    <a:p>
                      <a:r>
                        <a:rPr lang="de-DE" sz="1800" b="1">
                          <a:solidFill>
                            <a:schemeClr val="bg1">
                              <a:lumMod val="50000"/>
                            </a:schemeClr>
                          </a:solidFill>
                          <a:latin typeface="Amalia" panose="020B0504020203020204" pitchFamily="34" charset="0"/>
                        </a:rPr>
                        <a:t>Q1 21</a:t>
                      </a:r>
                      <a:endParaRPr lang="en-GB" sz="1800" b="1">
                        <a:solidFill>
                          <a:schemeClr val="bg1">
                            <a:lumMod val="50000"/>
                          </a:schemeClr>
                        </a:solidFill>
                        <a:latin typeface="Amalia" panose="020B0504020203020204" pitchFamily="34" charset="0"/>
                      </a:endParaRPr>
                    </a:p>
                  </a:txBody>
                  <a:tcPr marL="91435" marR="91435" marT="45717" marB="45717" anchor="ctr"/>
                </a:tc>
                <a:tc>
                  <a:txBody>
                    <a:bodyPr/>
                    <a:lstStyle/>
                    <a:p>
                      <a:pPr algn="ctr"/>
                      <a:r>
                        <a:rPr lang="de-DE" sz="1800" b="0" dirty="0">
                          <a:solidFill>
                            <a:schemeClr val="bg1">
                              <a:lumMod val="50000"/>
                            </a:schemeClr>
                          </a:solidFill>
                          <a:latin typeface="Amalia" panose="020B0504020203020204" pitchFamily="34" charset="0"/>
                        </a:rPr>
                        <a:t>-0,5</a:t>
                      </a:r>
                      <a:endParaRPr lang="en-GB" sz="1800" b="0" dirty="0">
                        <a:solidFill>
                          <a:schemeClr val="bg1">
                            <a:lumMod val="50000"/>
                          </a:schemeClr>
                        </a:solidFill>
                        <a:latin typeface="Amalia" panose="020B0504020203020204" pitchFamily="34" charset="0"/>
                      </a:endParaRPr>
                    </a:p>
                  </a:txBody>
                  <a:tcPr marL="91435" marR="91435" marT="45717" marB="45717" anchor="ctr"/>
                </a:tc>
                <a:extLst>
                  <a:ext uri="{0D108BD9-81ED-4DB2-BD59-A6C34878D82A}">
                    <a16:rowId xmlns:a16="http://schemas.microsoft.com/office/drawing/2014/main" val="1115170256"/>
                  </a:ext>
                </a:extLst>
              </a:tr>
              <a:tr h="630622">
                <a:tc>
                  <a:txBody>
                    <a:bodyPr/>
                    <a:lstStyle/>
                    <a:p>
                      <a:r>
                        <a:rPr lang="de-DE" sz="1800" b="1">
                          <a:solidFill>
                            <a:schemeClr val="bg1">
                              <a:lumMod val="50000"/>
                            </a:schemeClr>
                          </a:solidFill>
                          <a:latin typeface="Amalia" panose="020B0504020203020204" pitchFamily="34" charset="0"/>
                        </a:rPr>
                        <a:t>Q2 21</a:t>
                      </a:r>
                      <a:endParaRPr lang="en-GB" sz="1800" b="1">
                        <a:solidFill>
                          <a:schemeClr val="bg1">
                            <a:lumMod val="50000"/>
                          </a:schemeClr>
                        </a:solidFill>
                        <a:latin typeface="Amalia" panose="020B0504020203020204" pitchFamily="34" charset="0"/>
                      </a:endParaRPr>
                    </a:p>
                  </a:txBody>
                  <a:tcPr marL="91435" marR="91435" marT="45717" marB="45717" anchor="ctr"/>
                </a:tc>
                <a:tc>
                  <a:txBody>
                    <a:bodyPr/>
                    <a:lstStyle/>
                    <a:p>
                      <a:pPr algn="ctr"/>
                      <a:r>
                        <a:rPr lang="de-DE" sz="1800" b="0" dirty="0">
                          <a:solidFill>
                            <a:schemeClr val="bg1">
                              <a:lumMod val="50000"/>
                            </a:schemeClr>
                          </a:solidFill>
                          <a:latin typeface="Amalia" panose="020B0504020203020204" pitchFamily="34" charset="0"/>
                        </a:rPr>
                        <a:t>3,5</a:t>
                      </a:r>
                      <a:endParaRPr lang="en-GB" sz="1800" b="0" dirty="0">
                        <a:solidFill>
                          <a:schemeClr val="bg1">
                            <a:lumMod val="50000"/>
                          </a:schemeClr>
                        </a:solidFill>
                        <a:latin typeface="Amalia" panose="020B0504020203020204" pitchFamily="34" charset="0"/>
                      </a:endParaRPr>
                    </a:p>
                  </a:txBody>
                  <a:tcPr marL="91435" marR="91435" marT="45717" marB="45717" anchor="ctr"/>
                </a:tc>
                <a:extLst>
                  <a:ext uri="{0D108BD9-81ED-4DB2-BD59-A6C34878D82A}">
                    <a16:rowId xmlns:a16="http://schemas.microsoft.com/office/drawing/2014/main" val="3809685057"/>
                  </a:ext>
                </a:extLst>
              </a:tr>
              <a:tr h="630622">
                <a:tc>
                  <a:txBody>
                    <a:bodyPr/>
                    <a:lstStyle/>
                    <a:p>
                      <a:r>
                        <a:rPr lang="de-DE" sz="1800" b="1">
                          <a:solidFill>
                            <a:schemeClr val="tx1"/>
                          </a:solidFill>
                          <a:latin typeface="Amalia" panose="020B0504020203020204" pitchFamily="34" charset="0"/>
                        </a:rPr>
                        <a:t>Q3 21e</a:t>
                      </a:r>
                      <a:endParaRPr lang="en-GB" sz="1800" b="1">
                        <a:solidFill>
                          <a:schemeClr val="tx1"/>
                        </a:solidFill>
                        <a:latin typeface="Amalia" panose="020B0504020203020204" pitchFamily="34" charset="0"/>
                      </a:endParaRPr>
                    </a:p>
                  </a:txBody>
                  <a:tcPr marL="91435" marR="91435" marT="45717" marB="45717" anchor="ctr"/>
                </a:tc>
                <a:tc>
                  <a:txBody>
                    <a:bodyPr/>
                    <a:lstStyle/>
                    <a:p>
                      <a:pPr algn="ctr"/>
                      <a:r>
                        <a:rPr lang="de-DE" sz="1800" b="1" dirty="0">
                          <a:solidFill>
                            <a:schemeClr val="tx1"/>
                          </a:solidFill>
                          <a:latin typeface="Amalia" panose="020B0504020203020204" pitchFamily="34" charset="0"/>
                        </a:rPr>
                        <a:t>2,5</a:t>
                      </a:r>
                      <a:endParaRPr lang="en-GB" sz="1800" b="1" dirty="0">
                        <a:solidFill>
                          <a:schemeClr val="tx1"/>
                        </a:solidFill>
                        <a:latin typeface="Amalia" panose="020B0504020203020204" pitchFamily="34" charset="0"/>
                      </a:endParaRPr>
                    </a:p>
                  </a:txBody>
                  <a:tcPr marL="91435" marR="91435" marT="45717" marB="45717" anchor="ctr"/>
                </a:tc>
                <a:extLst>
                  <a:ext uri="{0D108BD9-81ED-4DB2-BD59-A6C34878D82A}">
                    <a16:rowId xmlns:a16="http://schemas.microsoft.com/office/drawing/2014/main" val="630802216"/>
                  </a:ext>
                </a:extLst>
              </a:tr>
              <a:tr h="630622">
                <a:tc>
                  <a:txBody>
                    <a:bodyPr/>
                    <a:lstStyle/>
                    <a:p>
                      <a:r>
                        <a:rPr lang="de-DE" sz="1800" b="1">
                          <a:solidFill>
                            <a:schemeClr val="tx1"/>
                          </a:solidFill>
                          <a:latin typeface="Amalia" panose="020B0504020203020204" pitchFamily="34" charset="0"/>
                        </a:rPr>
                        <a:t>Q4 21e</a:t>
                      </a:r>
                      <a:endParaRPr lang="en-GB" sz="1800" b="1">
                        <a:solidFill>
                          <a:schemeClr val="tx1"/>
                        </a:solidFill>
                        <a:latin typeface="Amalia" panose="020B0504020203020204" pitchFamily="34" charset="0"/>
                      </a:endParaRPr>
                    </a:p>
                  </a:txBody>
                  <a:tcPr marL="91435" marR="91435" marT="45717" marB="45717" anchor="ctr">
                    <a:lnB w="28575" cap="flat" cmpd="sng" algn="ctr">
                      <a:solidFill>
                        <a:srgbClr val="FEE600"/>
                      </a:solidFill>
                      <a:prstDash val="solid"/>
                      <a:round/>
                      <a:headEnd type="none" w="med" len="med"/>
                      <a:tailEnd type="none" w="med" len="med"/>
                    </a:lnB>
                  </a:tcPr>
                </a:tc>
                <a:tc>
                  <a:txBody>
                    <a:bodyPr/>
                    <a:lstStyle/>
                    <a:p>
                      <a:pPr algn="ctr"/>
                      <a:r>
                        <a:rPr lang="de-DE" sz="1800" b="1" dirty="0">
                          <a:solidFill>
                            <a:schemeClr val="tx1"/>
                          </a:solidFill>
                          <a:latin typeface="Amalia" panose="020B0504020203020204" pitchFamily="34" charset="0"/>
                        </a:rPr>
                        <a:t>0,7</a:t>
                      </a:r>
                      <a:endParaRPr lang="en-GB" sz="1800" b="1" dirty="0">
                        <a:solidFill>
                          <a:schemeClr val="tx1"/>
                        </a:solidFill>
                        <a:latin typeface="Amalia" panose="020B0504020203020204" pitchFamily="34" charset="0"/>
                      </a:endParaRPr>
                    </a:p>
                  </a:txBody>
                  <a:tcPr marL="91435" marR="91435" marT="45717" marB="45717" anchor="ctr">
                    <a:lnB w="28575" cap="flat" cmpd="sng" algn="ctr">
                      <a:solidFill>
                        <a:srgbClr val="FEE600"/>
                      </a:solidFill>
                      <a:prstDash val="solid"/>
                      <a:round/>
                      <a:headEnd type="none" w="med" len="med"/>
                      <a:tailEnd type="none" w="med" len="med"/>
                    </a:lnB>
                  </a:tcPr>
                </a:tc>
                <a:extLst>
                  <a:ext uri="{0D108BD9-81ED-4DB2-BD59-A6C34878D82A}">
                    <a16:rowId xmlns:a16="http://schemas.microsoft.com/office/drawing/2014/main" val="3866423946"/>
                  </a:ext>
                </a:extLst>
              </a:tr>
            </a:tbl>
          </a:graphicData>
        </a:graphic>
      </p:graphicFrame>
    </p:spTree>
    <p:extLst>
      <p:ext uri="{BB962C8B-B14F-4D97-AF65-F5344CB8AC3E}">
        <p14:creationId xmlns:p14="http://schemas.microsoft.com/office/powerpoint/2010/main" val="3826473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0-#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fill="hold"/>
                                        <p:tgtEl>
                                          <p:spTgt spid="8"/>
                                        </p:tgtEl>
                                        <p:attrNameLst>
                                          <p:attrName>ppt_x</p:attrName>
                                        </p:attrNameLst>
                                      </p:cBhvr>
                                      <p:tavLst>
                                        <p:tav tm="0">
                                          <p:val>
                                            <p:strVal val="0-#ppt_w/2"/>
                                          </p:val>
                                        </p:tav>
                                        <p:tav tm="100000">
                                          <p:val>
                                            <p:strVal val="#ppt_x"/>
                                          </p:val>
                                        </p:tav>
                                      </p:tavLst>
                                    </p:anim>
                                    <p:anim calcmode="lin" valueType="num">
                                      <p:cBhvr additive="base">
                                        <p:cTn id="23"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Graphic spid="6" grpId="0">
        <p:bldAsOne/>
      </p:bldGraphic>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88D83A57-36AC-401E-BBBA-9603E2150D0C}"/>
              </a:ext>
            </a:extLst>
          </p:cNvPr>
          <p:cNvSpPr txBox="1">
            <a:spLocks/>
          </p:cNvSpPr>
          <p:nvPr/>
        </p:nvSpPr>
        <p:spPr bwMode="gray">
          <a:xfrm>
            <a:off x="637906" y="481454"/>
            <a:ext cx="10706729" cy="388536"/>
          </a:xfrm>
          <a:prstGeom prst="rect">
            <a:avLst/>
          </a:prstGeom>
        </p:spPr>
        <p:txBody>
          <a:bodyPr vert="horz" lIns="0" tIns="0" rIns="0" bIns="0" rtlCol="0" anchor="b" anchorCtr="0">
            <a:noAutofit/>
          </a:bodyPr>
          <a:lstStyle>
            <a:lvl1pPr algn="l" defTabSz="802020" rtl="0" eaLnBrk="1" latinLnBrk="0" hangingPunct="1">
              <a:lnSpc>
                <a:spcPct val="90000"/>
              </a:lnSpc>
              <a:spcBef>
                <a:spcPct val="0"/>
              </a:spcBef>
              <a:buNone/>
              <a:defRPr sz="2400" b="1" kern="1200" cap="none" baseline="0">
                <a:solidFill>
                  <a:schemeClr val="tx1"/>
                </a:solidFill>
                <a:latin typeface="+mj-lt"/>
                <a:ea typeface="+mj-ea"/>
                <a:cs typeface="+mj-cs"/>
              </a:defRPr>
            </a:lvl1pPr>
          </a:lstStyle>
          <a:p>
            <a:r>
              <a:rPr lang="de-DE" sz="2260">
                <a:latin typeface="Amalia" panose="020B0504020203020204" pitchFamily="34" charset="0"/>
              </a:rPr>
              <a:t>ÖSTERREICH: BUNDESLÄNDER</a:t>
            </a:r>
          </a:p>
          <a:p>
            <a:r>
              <a:rPr lang="de-DE" sz="2260" b="0">
                <a:solidFill>
                  <a:schemeClr val="bg1">
                    <a:lumMod val="50000"/>
                  </a:schemeClr>
                </a:solidFill>
                <a:latin typeface="Amalia" panose="020B0504020203020204" pitchFamily="34" charset="0"/>
              </a:rPr>
              <a:t>Regionales Gefälle auch im Aufschwung</a:t>
            </a:r>
          </a:p>
        </p:txBody>
      </p:sp>
      <p:sp>
        <p:nvSpPr>
          <p:cNvPr id="11" name="Textfeld 10">
            <a:extLst>
              <a:ext uri="{FF2B5EF4-FFF2-40B4-BE49-F238E27FC236}">
                <a16:creationId xmlns:a16="http://schemas.microsoft.com/office/drawing/2014/main" id="{978579FD-C124-43A1-8D6C-F93F13EE6AEC}"/>
              </a:ext>
            </a:extLst>
          </p:cNvPr>
          <p:cNvSpPr txBox="1"/>
          <p:nvPr/>
        </p:nvSpPr>
        <p:spPr bwMode="gray">
          <a:xfrm>
            <a:off x="762560" y="6722723"/>
            <a:ext cx="7654834" cy="307777"/>
          </a:xfrm>
          <a:prstGeom prst="rect">
            <a:avLst/>
          </a:prstGeom>
          <a:noFill/>
        </p:spPr>
        <p:txBody>
          <a:bodyPr wrap="square" lIns="0" tIns="0" rIns="0" bIns="0" rtlCol="0">
            <a:spAutoFit/>
          </a:bodyPr>
          <a:lstStyle/>
          <a:p>
            <a:pPr algn="l"/>
            <a:r>
              <a:rPr lang="de-DE" sz="1000">
                <a:solidFill>
                  <a:srgbClr val="808080">
                    <a:alpha val="100000"/>
                  </a:srgbClr>
                </a:solidFill>
                <a:latin typeface="Amalia" panose="020B0504020203020204" pitchFamily="34" charset="0"/>
                <a:cs typeface="+mj-cs"/>
              </a:rPr>
              <a:t>* in % p.a., real                                                                                                                                                                                                                     Statistik Austria, Raiffeisen Research</a:t>
            </a:r>
          </a:p>
        </p:txBody>
      </p:sp>
      <p:graphicFrame>
        <p:nvGraphicFramePr>
          <p:cNvPr id="12" name="Chart 7">
            <a:extLst>
              <a:ext uri="{FF2B5EF4-FFF2-40B4-BE49-F238E27FC236}">
                <a16:creationId xmlns:a16="http://schemas.microsoft.com/office/drawing/2014/main" id="{1F6775D9-B93E-4783-83BB-7F79486C40BD}"/>
              </a:ext>
            </a:extLst>
          </p:cNvPr>
          <p:cNvGraphicFramePr>
            <a:graphicFrameLocks/>
          </p:cNvGraphicFramePr>
          <p:nvPr>
            <p:extLst>
              <p:ext uri="{D42A27DB-BD31-4B8C-83A1-F6EECF244321}">
                <p14:modId xmlns:p14="http://schemas.microsoft.com/office/powerpoint/2010/main" val="4001803369"/>
              </p:ext>
            </p:extLst>
          </p:nvPr>
        </p:nvGraphicFramePr>
        <p:xfrm>
          <a:off x="300713" y="1088248"/>
          <a:ext cx="12821900" cy="55362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75951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A0669-0224-4606-8F0E-6142A090B23F}"/>
              </a:ext>
            </a:extLst>
          </p:cNvPr>
          <p:cNvSpPr>
            <a:spLocks noGrp="1"/>
          </p:cNvSpPr>
          <p:nvPr>
            <p:ph type="title"/>
          </p:nvPr>
        </p:nvSpPr>
        <p:spPr/>
        <p:txBody>
          <a:bodyPr/>
          <a:lstStyle/>
          <a:p>
            <a:r>
              <a:rPr lang="de-DE" sz="2400">
                <a:latin typeface="Amalia" panose="020B0504020203020204" pitchFamily="34" charset="0"/>
              </a:rPr>
              <a:t>ÖSTERREICH: ARBEITSMARKT</a:t>
            </a:r>
            <a:br>
              <a:rPr lang="de-DE" sz="2400">
                <a:latin typeface="Amalia" panose="020B0504020203020204" pitchFamily="34" charset="0"/>
              </a:rPr>
            </a:br>
            <a:r>
              <a:rPr lang="de-DE" sz="2400" b="0">
                <a:solidFill>
                  <a:schemeClr val="bg1">
                    <a:lumMod val="50000"/>
                  </a:schemeClr>
                </a:solidFill>
                <a:latin typeface="Amalia" panose="020B0504020203020204" pitchFamily="34" charset="0"/>
              </a:rPr>
              <a:t>Es mangelt an Flexibilität, nicht an offenen Stellen</a:t>
            </a:r>
            <a:endParaRPr lang="de-AT" sz="2400"/>
          </a:p>
        </p:txBody>
      </p:sp>
      <p:graphicFrame>
        <p:nvGraphicFramePr>
          <p:cNvPr id="5" name="Table 5">
            <a:extLst>
              <a:ext uri="{FF2B5EF4-FFF2-40B4-BE49-F238E27FC236}">
                <a16:creationId xmlns:a16="http://schemas.microsoft.com/office/drawing/2014/main" id="{5B1EEAFD-DEF9-4628-B728-87CB4FC5155A}"/>
              </a:ext>
            </a:extLst>
          </p:cNvPr>
          <p:cNvGraphicFramePr>
            <a:graphicFrameLocks noGrp="1"/>
          </p:cNvGraphicFramePr>
          <p:nvPr>
            <p:extLst>
              <p:ext uri="{D42A27DB-BD31-4B8C-83A1-F6EECF244321}">
                <p14:modId xmlns:p14="http://schemas.microsoft.com/office/powerpoint/2010/main" val="2537802645"/>
              </p:ext>
            </p:extLst>
          </p:nvPr>
        </p:nvGraphicFramePr>
        <p:xfrm>
          <a:off x="894080" y="1270911"/>
          <a:ext cx="4836160" cy="4964330"/>
        </p:xfrm>
        <a:graphic>
          <a:graphicData uri="http://schemas.openxmlformats.org/drawingml/2006/table">
            <a:tbl>
              <a:tblPr firstRow="1" bandRow="1">
                <a:tableStyleId>{3B4B98B0-60AC-42C2-AFA5-B58CD77FA1E5}</a:tableStyleId>
              </a:tblPr>
              <a:tblGrid>
                <a:gridCol w="1964215">
                  <a:extLst>
                    <a:ext uri="{9D8B030D-6E8A-4147-A177-3AD203B41FA5}">
                      <a16:colId xmlns:a16="http://schemas.microsoft.com/office/drawing/2014/main" val="2117060236"/>
                    </a:ext>
                  </a:extLst>
                </a:gridCol>
                <a:gridCol w="2871945">
                  <a:extLst>
                    <a:ext uri="{9D8B030D-6E8A-4147-A177-3AD203B41FA5}">
                      <a16:colId xmlns:a16="http://schemas.microsoft.com/office/drawing/2014/main" val="2153341319"/>
                    </a:ext>
                  </a:extLst>
                </a:gridCol>
              </a:tblGrid>
              <a:tr h="408982">
                <a:tc gridSpan="2">
                  <a:txBody>
                    <a:bodyPr/>
                    <a:lstStyle/>
                    <a:p>
                      <a:pPr algn="ctr"/>
                      <a:r>
                        <a:rPr lang="en-GB" sz="1600" err="1">
                          <a:solidFill>
                            <a:srgbClr val="595959"/>
                          </a:solidFill>
                          <a:latin typeface="Amalia"/>
                        </a:rPr>
                        <a:t>Arbeitslosenquote</a:t>
                      </a:r>
                      <a:r>
                        <a:rPr lang="en-GB" sz="1600">
                          <a:solidFill>
                            <a:srgbClr val="595959"/>
                          </a:solidFill>
                          <a:latin typeface="Amalia"/>
                        </a:rPr>
                        <a:t> (%, September 21)</a:t>
                      </a:r>
                    </a:p>
                  </a:txBody>
                  <a:tcPr anchor="ctr">
                    <a:lnB w="28575" cap="flat" cmpd="sng" algn="ctr">
                      <a:solidFill>
                        <a:srgbClr val="FEE600"/>
                      </a:solidFill>
                      <a:prstDash val="solid"/>
                      <a:round/>
                      <a:headEnd type="none" w="med" len="med"/>
                      <a:tailEnd type="none" w="med" len="med"/>
                    </a:lnB>
                  </a:tcPr>
                </a:tc>
                <a:tc hMerge="1">
                  <a:txBody>
                    <a:bodyPr/>
                    <a:lstStyle/>
                    <a:p>
                      <a:pPr algn="ctr"/>
                      <a:endParaRPr lang="en-GB" sz="1600">
                        <a:solidFill>
                          <a:schemeClr val="bg1">
                            <a:lumMod val="50000"/>
                          </a:schemeClr>
                        </a:solidFill>
                        <a:latin typeface="Amalia" panose="020B0504020203020204" pitchFamily="34" charset="0"/>
                      </a:endParaRPr>
                    </a:p>
                  </a:txBody>
                  <a:tcPr anchor="ctr">
                    <a:lnB w="28575" cap="flat" cmpd="sng" algn="ctr">
                      <a:solidFill>
                        <a:srgbClr val="FEE600"/>
                      </a:solidFill>
                      <a:prstDash val="solid"/>
                      <a:round/>
                      <a:headEnd type="none" w="med" len="med"/>
                      <a:tailEnd type="none" w="med" len="med"/>
                    </a:lnB>
                  </a:tcPr>
                </a:tc>
                <a:extLst>
                  <a:ext uri="{0D108BD9-81ED-4DB2-BD59-A6C34878D82A}">
                    <a16:rowId xmlns:a16="http://schemas.microsoft.com/office/drawing/2014/main" val="743367850"/>
                  </a:ext>
                </a:extLst>
              </a:tr>
              <a:tr h="445440">
                <a:tc>
                  <a:txBody>
                    <a:bodyPr/>
                    <a:lstStyle/>
                    <a:p>
                      <a:r>
                        <a:rPr lang="en-GB" sz="1600" b="1">
                          <a:solidFill>
                            <a:schemeClr val="tx1">
                              <a:lumMod val="65000"/>
                              <a:lumOff val="35000"/>
                            </a:schemeClr>
                          </a:solidFill>
                          <a:latin typeface="Amalia"/>
                        </a:rPr>
                        <a:t>W</a:t>
                      </a:r>
                    </a:p>
                  </a:txBody>
                  <a:tcPr anchor="ctr">
                    <a:lnT w="28575" cap="flat" cmpd="sng" algn="ctr">
                      <a:solidFill>
                        <a:srgbClr val="FEE600"/>
                      </a:solidFill>
                      <a:prstDash val="solid"/>
                      <a:round/>
                      <a:headEnd type="none" w="med" len="med"/>
                      <a:tailEnd type="none" w="med" len="med"/>
                    </a:lnT>
                  </a:tcPr>
                </a:tc>
                <a:tc>
                  <a:txBody>
                    <a:bodyPr/>
                    <a:lstStyle/>
                    <a:p>
                      <a:pPr algn="ctr"/>
                      <a:r>
                        <a:rPr lang="en-GB" sz="1600">
                          <a:solidFill>
                            <a:schemeClr val="tx1">
                              <a:lumMod val="65000"/>
                              <a:lumOff val="35000"/>
                            </a:schemeClr>
                          </a:solidFill>
                          <a:latin typeface="Amalia"/>
                        </a:rPr>
                        <a:t>11,4 %</a:t>
                      </a:r>
                    </a:p>
                  </a:txBody>
                  <a:tcPr anchor="ctr">
                    <a:lnT w="28575" cap="flat" cmpd="sng" algn="ctr">
                      <a:solidFill>
                        <a:srgbClr val="FEE600"/>
                      </a:solidFill>
                      <a:prstDash val="solid"/>
                      <a:round/>
                      <a:headEnd type="none" w="med" len="med"/>
                      <a:tailEnd type="none" w="med" len="med"/>
                    </a:lnT>
                  </a:tcPr>
                </a:tc>
                <a:extLst>
                  <a:ext uri="{0D108BD9-81ED-4DB2-BD59-A6C34878D82A}">
                    <a16:rowId xmlns:a16="http://schemas.microsoft.com/office/drawing/2014/main" val="195954977"/>
                  </a:ext>
                </a:extLst>
              </a:tr>
              <a:tr h="425274">
                <a:tc>
                  <a:txBody>
                    <a:bodyPr/>
                    <a:lstStyle/>
                    <a:p>
                      <a:r>
                        <a:rPr lang="en-GB" sz="1600" b="1">
                          <a:solidFill>
                            <a:schemeClr val="tx1">
                              <a:lumMod val="65000"/>
                              <a:lumOff val="35000"/>
                            </a:schemeClr>
                          </a:solidFill>
                          <a:latin typeface="Amalia"/>
                        </a:rPr>
                        <a:t>Ö </a:t>
                      </a:r>
                      <a:r>
                        <a:rPr lang="en-GB" sz="1600" b="1" err="1">
                          <a:solidFill>
                            <a:schemeClr val="tx1">
                              <a:lumMod val="65000"/>
                              <a:lumOff val="35000"/>
                            </a:schemeClr>
                          </a:solidFill>
                          <a:latin typeface="Amalia"/>
                        </a:rPr>
                        <a:t>gesamt</a:t>
                      </a:r>
                    </a:p>
                  </a:txBody>
                  <a:tcPr anchor="ctr"/>
                </a:tc>
                <a:tc>
                  <a:txBody>
                    <a:bodyPr/>
                    <a:lstStyle/>
                    <a:p>
                      <a:pPr algn="ctr"/>
                      <a:r>
                        <a:rPr lang="en-GB" sz="1600" b="1">
                          <a:solidFill>
                            <a:schemeClr val="tx1">
                              <a:lumMod val="65000"/>
                              <a:lumOff val="35000"/>
                            </a:schemeClr>
                          </a:solidFill>
                          <a:latin typeface="Amalia"/>
                        </a:rPr>
                        <a:t>6,5 %</a:t>
                      </a:r>
                    </a:p>
                  </a:txBody>
                  <a:tcPr anchor="ctr"/>
                </a:tc>
                <a:extLst>
                  <a:ext uri="{0D108BD9-81ED-4DB2-BD59-A6C34878D82A}">
                    <a16:rowId xmlns:a16="http://schemas.microsoft.com/office/drawing/2014/main" val="1112635597"/>
                  </a:ext>
                </a:extLst>
              </a:tr>
              <a:tr h="425274">
                <a:tc>
                  <a:txBody>
                    <a:bodyPr/>
                    <a:lstStyle/>
                    <a:p>
                      <a:r>
                        <a:rPr lang="de-DE" sz="1600" b="1">
                          <a:solidFill>
                            <a:srgbClr val="FF0000"/>
                          </a:solidFill>
                          <a:latin typeface="Amalia"/>
                        </a:rPr>
                        <a:t>Ktn.</a:t>
                      </a:r>
                      <a:endParaRPr lang="en-GB" sz="1600" b="1">
                        <a:solidFill>
                          <a:srgbClr val="FF0000"/>
                        </a:solidFill>
                        <a:latin typeface="Amalia"/>
                      </a:endParaRPr>
                    </a:p>
                  </a:txBody>
                  <a:tcPr anchor="ctr"/>
                </a:tc>
                <a:tc>
                  <a:txBody>
                    <a:bodyPr/>
                    <a:lstStyle/>
                    <a:p>
                      <a:pPr algn="ctr"/>
                      <a:r>
                        <a:rPr lang="de-DE" sz="1600" dirty="0">
                          <a:solidFill>
                            <a:srgbClr val="FF0000"/>
                          </a:solidFill>
                          <a:latin typeface="Amalia"/>
                        </a:rPr>
                        <a:t>6,2 %</a:t>
                      </a:r>
                      <a:endParaRPr lang="en-GB" sz="1600" dirty="0">
                        <a:solidFill>
                          <a:srgbClr val="FF0000"/>
                        </a:solidFill>
                        <a:latin typeface="Amalia"/>
                      </a:endParaRPr>
                    </a:p>
                  </a:txBody>
                  <a:tcPr anchor="ctr"/>
                </a:tc>
                <a:extLst>
                  <a:ext uri="{0D108BD9-81ED-4DB2-BD59-A6C34878D82A}">
                    <a16:rowId xmlns:a16="http://schemas.microsoft.com/office/drawing/2014/main" val="1921652676"/>
                  </a:ext>
                </a:extLst>
              </a:tr>
              <a:tr h="425274">
                <a:tc>
                  <a:txBody>
                    <a:bodyPr/>
                    <a:lstStyle/>
                    <a:p>
                      <a:r>
                        <a:rPr lang="en-GB" sz="1600" b="1" kern="1200">
                          <a:solidFill>
                            <a:schemeClr val="tx1">
                              <a:lumMod val="65000"/>
                              <a:lumOff val="35000"/>
                            </a:schemeClr>
                          </a:solidFill>
                          <a:latin typeface="Amalia"/>
                          <a:ea typeface="+mn-ea"/>
                          <a:cs typeface="+mn-cs"/>
                        </a:rPr>
                        <a:t>NÖ</a:t>
                      </a:r>
                    </a:p>
                  </a:txBody>
                  <a:tcPr anchor="ctr"/>
                </a:tc>
                <a:tc>
                  <a:txBody>
                    <a:bodyPr/>
                    <a:lstStyle/>
                    <a:p>
                      <a:pPr algn="ctr"/>
                      <a:r>
                        <a:rPr lang="en-GB" sz="1600" b="0" kern="1200">
                          <a:solidFill>
                            <a:schemeClr val="tx1">
                              <a:lumMod val="65000"/>
                              <a:lumOff val="35000"/>
                            </a:schemeClr>
                          </a:solidFill>
                          <a:latin typeface="Amalia"/>
                          <a:ea typeface="+mn-ea"/>
                          <a:cs typeface="+mn-cs"/>
                        </a:rPr>
                        <a:t>6,1 %</a:t>
                      </a:r>
                    </a:p>
                  </a:txBody>
                  <a:tcPr anchor="ctr"/>
                </a:tc>
                <a:extLst>
                  <a:ext uri="{0D108BD9-81ED-4DB2-BD59-A6C34878D82A}">
                    <a16:rowId xmlns:a16="http://schemas.microsoft.com/office/drawing/2014/main" val="3502014705"/>
                  </a:ext>
                </a:extLst>
              </a:tr>
              <a:tr h="443892">
                <a:tc>
                  <a:txBody>
                    <a:bodyPr/>
                    <a:lstStyle/>
                    <a:p>
                      <a:r>
                        <a:rPr lang="de-DE" sz="1600" b="1" err="1">
                          <a:solidFill>
                            <a:schemeClr val="tx1">
                              <a:lumMod val="65000"/>
                              <a:lumOff val="35000"/>
                            </a:schemeClr>
                          </a:solidFill>
                          <a:latin typeface="Amalia"/>
                        </a:rPr>
                        <a:t>Bgld</a:t>
                      </a:r>
                      <a:r>
                        <a:rPr lang="de-DE" sz="1600" b="1">
                          <a:solidFill>
                            <a:schemeClr val="tx1">
                              <a:lumMod val="65000"/>
                              <a:lumOff val="35000"/>
                            </a:schemeClr>
                          </a:solidFill>
                          <a:latin typeface="Amalia"/>
                        </a:rPr>
                        <a:t>.</a:t>
                      </a:r>
                      <a:endParaRPr lang="en-GB" sz="1600" b="1">
                        <a:solidFill>
                          <a:schemeClr val="tx1">
                            <a:lumMod val="65000"/>
                            <a:lumOff val="35000"/>
                          </a:schemeClr>
                        </a:solidFill>
                        <a:latin typeface="Amalia"/>
                      </a:endParaRPr>
                    </a:p>
                  </a:txBody>
                  <a:tcPr anchor="ctr"/>
                </a:tc>
                <a:tc>
                  <a:txBody>
                    <a:bodyPr/>
                    <a:lstStyle/>
                    <a:p>
                      <a:pPr algn="ctr"/>
                      <a:r>
                        <a:rPr lang="de-DE" sz="1600" b="0" kern="1200">
                          <a:solidFill>
                            <a:schemeClr val="tx1">
                              <a:lumMod val="65000"/>
                              <a:lumOff val="35000"/>
                            </a:schemeClr>
                          </a:solidFill>
                          <a:latin typeface="Amalia"/>
                          <a:ea typeface="+mn-ea"/>
                          <a:cs typeface="+mn-cs"/>
                        </a:rPr>
                        <a:t>6,0 %</a:t>
                      </a:r>
                      <a:endParaRPr lang="en-GB" sz="1600" b="0" kern="1200">
                        <a:solidFill>
                          <a:schemeClr val="tx1">
                            <a:lumMod val="65000"/>
                            <a:lumOff val="35000"/>
                          </a:schemeClr>
                        </a:solidFill>
                        <a:latin typeface="Amalia"/>
                        <a:ea typeface="+mn-ea"/>
                        <a:cs typeface="+mn-cs"/>
                      </a:endParaRPr>
                    </a:p>
                  </a:txBody>
                  <a:tcPr anchor="ctr"/>
                </a:tc>
                <a:extLst>
                  <a:ext uri="{0D108BD9-81ED-4DB2-BD59-A6C34878D82A}">
                    <a16:rowId xmlns:a16="http://schemas.microsoft.com/office/drawing/2014/main" val="3270223968"/>
                  </a:ext>
                </a:extLst>
              </a:tr>
              <a:tr h="418284">
                <a:tc>
                  <a:txBody>
                    <a:bodyPr/>
                    <a:lstStyle/>
                    <a:p>
                      <a:r>
                        <a:rPr lang="de-DE" sz="1600" b="1" err="1">
                          <a:solidFill>
                            <a:schemeClr val="tx1">
                              <a:lumMod val="65000"/>
                              <a:lumOff val="35000"/>
                            </a:schemeClr>
                          </a:solidFill>
                          <a:latin typeface="Amalia"/>
                        </a:rPr>
                        <a:t>Vbg</a:t>
                      </a:r>
                      <a:r>
                        <a:rPr lang="de-DE" sz="1600" b="1">
                          <a:solidFill>
                            <a:schemeClr val="tx1">
                              <a:lumMod val="65000"/>
                              <a:lumOff val="35000"/>
                            </a:schemeClr>
                          </a:solidFill>
                          <a:latin typeface="Amalia"/>
                        </a:rPr>
                        <a:t>.</a:t>
                      </a:r>
                      <a:endParaRPr lang="en-GB" sz="1600" b="1">
                        <a:solidFill>
                          <a:schemeClr val="tx1">
                            <a:lumMod val="65000"/>
                            <a:lumOff val="35000"/>
                          </a:schemeClr>
                        </a:solidFill>
                        <a:latin typeface="Amalia"/>
                      </a:endParaRPr>
                    </a:p>
                  </a:txBody>
                  <a:tcPr anchor="ctr"/>
                </a:tc>
                <a:tc>
                  <a:txBody>
                    <a:bodyPr/>
                    <a:lstStyle/>
                    <a:p>
                      <a:pPr algn="ctr"/>
                      <a:r>
                        <a:rPr lang="de-DE" sz="1600" b="0" kern="1200">
                          <a:solidFill>
                            <a:schemeClr val="tx1">
                              <a:lumMod val="65000"/>
                              <a:lumOff val="35000"/>
                            </a:schemeClr>
                          </a:solidFill>
                          <a:latin typeface="Amalia"/>
                          <a:ea typeface="+mn-ea"/>
                          <a:cs typeface="+mn-cs"/>
                        </a:rPr>
                        <a:t>5,4 %</a:t>
                      </a:r>
                      <a:endParaRPr lang="en-GB" sz="1600" b="0" kern="1200">
                        <a:solidFill>
                          <a:schemeClr val="tx1">
                            <a:lumMod val="65000"/>
                            <a:lumOff val="35000"/>
                          </a:schemeClr>
                        </a:solidFill>
                        <a:latin typeface="Amalia"/>
                        <a:ea typeface="+mn-ea"/>
                        <a:cs typeface="+mn-cs"/>
                      </a:endParaRPr>
                    </a:p>
                  </a:txBody>
                  <a:tcPr anchor="ctr"/>
                </a:tc>
                <a:extLst>
                  <a:ext uri="{0D108BD9-81ED-4DB2-BD59-A6C34878D82A}">
                    <a16:rowId xmlns:a16="http://schemas.microsoft.com/office/drawing/2014/main" val="1144930285"/>
                  </a:ext>
                </a:extLst>
              </a:tr>
              <a:tr h="435357">
                <a:tc>
                  <a:txBody>
                    <a:bodyPr/>
                    <a:lstStyle/>
                    <a:p>
                      <a:r>
                        <a:rPr lang="de-DE" sz="1600" b="1" err="1">
                          <a:solidFill>
                            <a:schemeClr val="tx1">
                              <a:lumMod val="65000"/>
                              <a:lumOff val="35000"/>
                            </a:schemeClr>
                          </a:solidFill>
                          <a:latin typeface="Amalia"/>
                        </a:rPr>
                        <a:t>Stmk</a:t>
                      </a:r>
                      <a:r>
                        <a:rPr lang="de-DE" sz="1600" b="1">
                          <a:solidFill>
                            <a:schemeClr val="tx1">
                              <a:lumMod val="65000"/>
                              <a:lumOff val="35000"/>
                            </a:schemeClr>
                          </a:solidFill>
                          <a:latin typeface="Amalia"/>
                        </a:rPr>
                        <a:t>.</a:t>
                      </a:r>
                      <a:endParaRPr lang="en-GB" sz="1600" b="1">
                        <a:solidFill>
                          <a:schemeClr val="tx1">
                            <a:lumMod val="65000"/>
                            <a:lumOff val="35000"/>
                          </a:schemeClr>
                        </a:solidFill>
                        <a:latin typeface="Amalia"/>
                      </a:endParaRPr>
                    </a:p>
                  </a:txBody>
                  <a:tcPr anchor="ctr"/>
                </a:tc>
                <a:tc>
                  <a:txBody>
                    <a:bodyPr/>
                    <a:lstStyle/>
                    <a:p>
                      <a:pPr algn="ctr"/>
                      <a:r>
                        <a:rPr lang="de-DE" sz="1600" b="0" kern="1200">
                          <a:solidFill>
                            <a:schemeClr val="tx1">
                              <a:lumMod val="65000"/>
                              <a:lumOff val="35000"/>
                            </a:schemeClr>
                          </a:solidFill>
                          <a:latin typeface="Amalia"/>
                          <a:ea typeface="+mn-ea"/>
                          <a:cs typeface="+mn-cs"/>
                        </a:rPr>
                        <a:t>5,2 %</a:t>
                      </a:r>
                      <a:endParaRPr lang="en-GB" sz="1600" b="0" kern="1200">
                        <a:solidFill>
                          <a:schemeClr val="tx1">
                            <a:lumMod val="65000"/>
                            <a:lumOff val="35000"/>
                          </a:schemeClr>
                        </a:solidFill>
                        <a:latin typeface="Amalia"/>
                        <a:ea typeface="+mn-ea"/>
                        <a:cs typeface="+mn-cs"/>
                      </a:endParaRPr>
                    </a:p>
                  </a:txBody>
                  <a:tcPr anchor="ctr"/>
                </a:tc>
                <a:extLst>
                  <a:ext uri="{0D108BD9-81ED-4DB2-BD59-A6C34878D82A}">
                    <a16:rowId xmlns:a16="http://schemas.microsoft.com/office/drawing/2014/main" val="1115170256"/>
                  </a:ext>
                </a:extLst>
              </a:tr>
              <a:tr h="486576">
                <a:tc>
                  <a:txBody>
                    <a:bodyPr/>
                    <a:lstStyle/>
                    <a:p>
                      <a:r>
                        <a:rPr lang="de-DE" sz="1600" b="1">
                          <a:solidFill>
                            <a:schemeClr val="tx1">
                              <a:lumMod val="65000"/>
                              <a:lumOff val="35000"/>
                            </a:schemeClr>
                          </a:solidFill>
                          <a:latin typeface="Amalia"/>
                        </a:rPr>
                        <a:t>OÖ</a:t>
                      </a:r>
                      <a:endParaRPr lang="en-GB" sz="1600" b="1">
                        <a:solidFill>
                          <a:schemeClr val="tx1">
                            <a:lumMod val="65000"/>
                            <a:lumOff val="35000"/>
                          </a:schemeClr>
                        </a:solidFill>
                        <a:latin typeface="Amalia"/>
                      </a:endParaRPr>
                    </a:p>
                  </a:txBody>
                  <a:tcPr anchor="ctr"/>
                </a:tc>
                <a:tc>
                  <a:txBody>
                    <a:bodyPr/>
                    <a:lstStyle/>
                    <a:p>
                      <a:pPr algn="ctr"/>
                      <a:r>
                        <a:rPr lang="de-DE" sz="1600" b="0" kern="1200">
                          <a:solidFill>
                            <a:schemeClr val="tx1">
                              <a:lumMod val="65000"/>
                              <a:lumOff val="35000"/>
                            </a:schemeClr>
                          </a:solidFill>
                          <a:latin typeface="Amalia"/>
                          <a:ea typeface="+mn-ea"/>
                          <a:cs typeface="+mn-cs"/>
                        </a:rPr>
                        <a:t>4,0 %</a:t>
                      </a:r>
                      <a:endParaRPr lang="en-GB" sz="1600" b="0" kern="1200">
                        <a:solidFill>
                          <a:schemeClr val="tx1">
                            <a:lumMod val="65000"/>
                            <a:lumOff val="35000"/>
                          </a:schemeClr>
                        </a:solidFill>
                        <a:latin typeface="Amalia"/>
                        <a:ea typeface="+mn-ea"/>
                        <a:cs typeface="+mn-cs"/>
                      </a:endParaRPr>
                    </a:p>
                  </a:txBody>
                  <a:tcPr anchor="ctr"/>
                </a:tc>
                <a:extLst>
                  <a:ext uri="{0D108BD9-81ED-4DB2-BD59-A6C34878D82A}">
                    <a16:rowId xmlns:a16="http://schemas.microsoft.com/office/drawing/2014/main" val="3809685057"/>
                  </a:ext>
                </a:extLst>
              </a:tr>
              <a:tr h="529257">
                <a:tc>
                  <a:txBody>
                    <a:bodyPr/>
                    <a:lstStyle/>
                    <a:p>
                      <a:r>
                        <a:rPr lang="de-DE" sz="1600" b="1" kern="1200">
                          <a:solidFill>
                            <a:schemeClr val="tx1">
                              <a:lumMod val="65000"/>
                              <a:lumOff val="35000"/>
                            </a:schemeClr>
                          </a:solidFill>
                          <a:latin typeface="Amalia"/>
                          <a:ea typeface="+mn-ea"/>
                          <a:cs typeface="+mn-cs"/>
                        </a:rPr>
                        <a:t>T</a:t>
                      </a:r>
                      <a:endParaRPr lang="en-GB" sz="1600" b="1" kern="1200">
                        <a:solidFill>
                          <a:schemeClr val="tx1">
                            <a:lumMod val="65000"/>
                            <a:lumOff val="35000"/>
                          </a:schemeClr>
                        </a:solidFill>
                        <a:latin typeface="Amalia"/>
                        <a:ea typeface="+mn-ea"/>
                        <a:cs typeface="+mn-cs"/>
                      </a:endParaRPr>
                    </a:p>
                  </a:txBody>
                  <a:tcPr anchor="ctr"/>
                </a:tc>
                <a:tc>
                  <a:txBody>
                    <a:bodyPr/>
                    <a:lstStyle/>
                    <a:p>
                      <a:pPr algn="ctr"/>
                      <a:r>
                        <a:rPr lang="de-DE" sz="1600" b="0" kern="1200">
                          <a:solidFill>
                            <a:schemeClr val="tx1">
                              <a:lumMod val="65000"/>
                              <a:lumOff val="35000"/>
                            </a:schemeClr>
                          </a:solidFill>
                          <a:latin typeface="Amalia"/>
                          <a:ea typeface="+mn-ea"/>
                          <a:cs typeface="+mn-cs"/>
                        </a:rPr>
                        <a:t>3,8 %</a:t>
                      </a:r>
                      <a:endParaRPr lang="en-GB" sz="1600" b="0" kern="1200">
                        <a:solidFill>
                          <a:schemeClr val="tx1">
                            <a:lumMod val="65000"/>
                            <a:lumOff val="35000"/>
                          </a:schemeClr>
                        </a:solidFill>
                        <a:latin typeface="Amalia"/>
                        <a:ea typeface="+mn-ea"/>
                        <a:cs typeface="+mn-cs"/>
                      </a:endParaRPr>
                    </a:p>
                  </a:txBody>
                  <a:tcPr anchor="ctr"/>
                </a:tc>
                <a:extLst>
                  <a:ext uri="{0D108BD9-81ED-4DB2-BD59-A6C34878D82A}">
                    <a16:rowId xmlns:a16="http://schemas.microsoft.com/office/drawing/2014/main" val="630802216"/>
                  </a:ext>
                </a:extLst>
              </a:tr>
              <a:tr h="520720">
                <a:tc>
                  <a:txBody>
                    <a:bodyPr/>
                    <a:lstStyle/>
                    <a:p>
                      <a:r>
                        <a:rPr lang="de-DE" sz="1600" b="1" err="1">
                          <a:solidFill>
                            <a:schemeClr val="tx1"/>
                          </a:solidFill>
                          <a:latin typeface="Amalia"/>
                        </a:rPr>
                        <a:t>Sbg</a:t>
                      </a:r>
                      <a:r>
                        <a:rPr lang="de-DE" sz="1600" b="1">
                          <a:solidFill>
                            <a:schemeClr val="tx1"/>
                          </a:solidFill>
                          <a:latin typeface="Amalia"/>
                        </a:rPr>
                        <a:t>.</a:t>
                      </a:r>
                      <a:endParaRPr lang="en-GB" sz="1600" b="1">
                        <a:solidFill>
                          <a:schemeClr val="tx1"/>
                        </a:solidFill>
                        <a:latin typeface="Amalia"/>
                      </a:endParaRPr>
                    </a:p>
                  </a:txBody>
                  <a:tcPr anchor="ctr"/>
                </a:tc>
                <a:tc>
                  <a:txBody>
                    <a:bodyPr/>
                    <a:lstStyle/>
                    <a:p>
                      <a:pPr algn="ctr"/>
                      <a:r>
                        <a:rPr lang="de-DE" sz="1600" b="1" kern="1200" dirty="0">
                          <a:solidFill>
                            <a:schemeClr val="tx1"/>
                          </a:solidFill>
                          <a:latin typeface="Amalia"/>
                          <a:ea typeface="+mn-ea"/>
                          <a:cs typeface="+mn-cs"/>
                        </a:rPr>
                        <a:t>3,5 %</a:t>
                      </a:r>
                      <a:endParaRPr lang="en-GB" sz="1600" b="1" kern="1200" dirty="0">
                        <a:solidFill>
                          <a:schemeClr val="tx1"/>
                        </a:solidFill>
                        <a:latin typeface="Amalia"/>
                        <a:ea typeface="+mn-ea"/>
                        <a:cs typeface="+mn-cs"/>
                      </a:endParaRPr>
                    </a:p>
                  </a:txBody>
                  <a:tcPr anchor="ctr"/>
                </a:tc>
                <a:extLst>
                  <a:ext uri="{0D108BD9-81ED-4DB2-BD59-A6C34878D82A}">
                    <a16:rowId xmlns:a16="http://schemas.microsoft.com/office/drawing/2014/main" val="3735456203"/>
                  </a:ext>
                </a:extLst>
              </a:tr>
            </a:tbl>
          </a:graphicData>
        </a:graphic>
      </p:graphicFrame>
      <p:sp>
        <p:nvSpPr>
          <p:cNvPr id="6" name="Content Placeholder 59">
            <a:extLst>
              <a:ext uri="{FF2B5EF4-FFF2-40B4-BE49-F238E27FC236}">
                <a16:creationId xmlns:a16="http://schemas.microsoft.com/office/drawing/2014/main" id="{350D2C10-4CC7-403C-B658-A1D004594079}"/>
              </a:ext>
            </a:extLst>
          </p:cNvPr>
          <p:cNvSpPr txBox="1">
            <a:spLocks/>
          </p:cNvSpPr>
          <p:nvPr/>
        </p:nvSpPr>
        <p:spPr bwMode="gray">
          <a:xfrm>
            <a:off x="6092525" y="6755219"/>
            <a:ext cx="4898472" cy="265341"/>
          </a:xfrm>
          <a:prstGeom prst="rect">
            <a:avLst/>
          </a:prstGeom>
        </p:spPr>
        <p:txBody>
          <a:bodyPr vert="horz" lIns="0" tIns="0" rIns="0" bIns="0" rtlCol="0" anchor="b" anchorCtr="0">
            <a:noAutofit/>
          </a:bodyPr>
          <a:lstStyle>
            <a:lvl1pPr algn="l" defTabSz="802020" rtl="0" eaLnBrk="1" latinLnBrk="0" hangingPunct="1">
              <a:lnSpc>
                <a:spcPct val="90000"/>
              </a:lnSpc>
              <a:spcBef>
                <a:spcPct val="0"/>
              </a:spcBef>
              <a:buNone/>
              <a:defRPr sz="2400" b="1" kern="1200" cap="none" baseline="0">
                <a:solidFill>
                  <a:schemeClr val="tx1"/>
                </a:solidFill>
                <a:latin typeface="+mj-lt"/>
                <a:ea typeface="+mj-ea"/>
                <a:cs typeface="+mj-cs"/>
              </a:defRPr>
            </a:lvl1pPr>
          </a:lstStyle>
          <a:p>
            <a:pPr>
              <a:spcBef>
                <a:spcPts val="0"/>
              </a:spcBef>
            </a:pPr>
            <a:r>
              <a:rPr lang="de-AT" sz="1000" b="0">
                <a:solidFill>
                  <a:srgbClr val="808080">
                    <a:alpha val="100000"/>
                  </a:srgbClr>
                </a:solidFill>
                <a:latin typeface="Amalia" panose="020B0504020203020204" pitchFamily="34" charset="0"/>
                <a:ea typeface="+mn-ea"/>
              </a:rPr>
              <a:t>* Anzahl der Arbeitslosen pro offener Stelle		                                                                                                                                                                                                </a:t>
            </a:r>
          </a:p>
          <a:p>
            <a:pPr>
              <a:spcBef>
                <a:spcPts val="0"/>
              </a:spcBef>
            </a:pPr>
            <a:r>
              <a:rPr lang="de-AT" sz="1000" b="0">
                <a:solidFill>
                  <a:srgbClr val="808080">
                    <a:alpha val="100000"/>
                  </a:srgbClr>
                </a:solidFill>
                <a:latin typeface="Amalia" panose="020B0504020203020204" pitchFamily="34" charset="0"/>
                <a:ea typeface="+mn-ea"/>
              </a:rPr>
              <a:t>Quelle: </a:t>
            </a:r>
            <a:r>
              <a:rPr lang="de-AT" sz="1000" b="0" err="1">
                <a:solidFill>
                  <a:srgbClr val="808080">
                    <a:alpha val="100000"/>
                  </a:srgbClr>
                </a:solidFill>
                <a:latin typeface="Amalia" panose="020B0504020203020204" pitchFamily="34" charset="0"/>
                <a:ea typeface="+mn-ea"/>
              </a:rPr>
              <a:t>Refinitiv</a:t>
            </a:r>
            <a:r>
              <a:rPr lang="de-AT" sz="1000" b="0">
                <a:solidFill>
                  <a:srgbClr val="808080">
                    <a:alpha val="100000"/>
                  </a:srgbClr>
                </a:solidFill>
                <a:latin typeface="Amalia" panose="020B0504020203020204" pitchFamily="34" charset="0"/>
                <a:ea typeface="+mn-ea"/>
              </a:rPr>
              <a:t>, Raiffeisen Research</a:t>
            </a:r>
          </a:p>
        </p:txBody>
      </p:sp>
      <p:sp>
        <p:nvSpPr>
          <p:cNvPr id="7" name="Content Placeholder 59">
            <a:extLst>
              <a:ext uri="{FF2B5EF4-FFF2-40B4-BE49-F238E27FC236}">
                <a16:creationId xmlns:a16="http://schemas.microsoft.com/office/drawing/2014/main" id="{12E6A312-CADA-4FF6-B656-91012E0E8C97}"/>
              </a:ext>
            </a:extLst>
          </p:cNvPr>
          <p:cNvSpPr txBox="1">
            <a:spLocks/>
          </p:cNvSpPr>
          <p:nvPr/>
        </p:nvSpPr>
        <p:spPr bwMode="gray">
          <a:xfrm>
            <a:off x="893911" y="6724739"/>
            <a:ext cx="4898472" cy="265341"/>
          </a:xfrm>
          <a:prstGeom prst="rect">
            <a:avLst/>
          </a:prstGeom>
        </p:spPr>
        <p:txBody>
          <a:bodyPr vert="horz" lIns="0" tIns="0" rIns="0" bIns="0" rtlCol="0" anchor="b" anchorCtr="0">
            <a:noAutofit/>
          </a:bodyPr>
          <a:lstStyle>
            <a:lvl1pPr algn="l" defTabSz="802020" rtl="0" eaLnBrk="1" latinLnBrk="0" hangingPunct="1">
              <a:lnSpc>
                <a:spcPct val="90000"/>
              </a:lnSpc>
              <a:spcBef>
                <a:spcPct val="0"/>
              </a:spcBef>
              <a:buNone/>
              <a:defRPr sz="2400" b="1" kern="1200" cap="none" baseline="0">
                <a:solidFill>
                  <a:schemeClr val="tx1"/>
                </a:solidFill>
                <a:latin typeface="+mj-lt"/>
                <a:ea typeface="+mj-ea"/>
                <a:cs typeface="+mj-cs"/>
              </a:defRPr>
            </a:lvl1pPr>
          </a:lstStyle>
          <a:p>
            <a:pPr>
              <a:spcBef>
                <a:spcPts val="0"/>
              </a:spcBef>
            </a:pPr>
            <a:r>
              <a:rPr lang="de-AT" sz="1000" b="0">
                <a:solidFill>
                  <a:srgbClr val="808080">
                    <a:alpha val="100000"/>
                  </a:srgbClr>
                </a:solidFill>
                <a:latin typeface="Amalia" panose="020B0504020203020204" pitchFamily="34" charset="0"/>
                <a:ea typeface="+mn-ea"/>
              </a:rPr>
              <a:t>		                                                                                                                                                                                                </a:t>
            </a:r>
          </a:p>
          <a:p>
            <a:pPr>
              <a:spcBef>
                <a:spcPts val="0"/>
              </a:spcBef>
            </a:pPr>
            <a:r>
              <a:rPr lang="de-AT" sz="1000" b="0">
                <a:solidFill>
                  <a:srgbClr val="808080">
                    <a:alpha val="100000"/>
                  </a:srgbClr>
                </a:solidFill>
                <a:latin typeface="Amalia" panose="020B0504020203020204" pitchFamily="34" charset="0"/>
                <a:ea typeface="+mn-ea"/>
              </a:rPr>
              <a:t>Quelle: AMS, Raiffeisen Research</a:t>
            </a:r>
          </a:p>
        </p:txBody>
      </p:sp>
      <p:graphicFrame>
        <p:nvGraphicFramePr>
          <p:cNvPr id="8" name="Diagramm 7">
            <a:extLst>
              <a:ext uri="{FF2B5EF4-FFF2-40B4-BE49-F238E27FC236}">
                <a16:creationId xmlns:a16="http://schemas.microsoft.com/office/drawing/2014/main" id="{00000000-0008-0000-0500-00001A000000}"/>
              </a:ext>
            </a:extLst>
          </p:cNvPr>
          <p:cNvGraphicFramePr>
            <a:graphicFrameLocks/>
          </p:cNvGraphicFramePr>
          <p:nvPr/>
        </p:nvGraphicFramePr>
        <p:xfrm>
          <a:off x="6177422" y="1225542"/>
          <a:ext cx="6932521" cy="53772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39663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0-#ppt_w/2"/>
                                          </p:val>
                                        </p:tav>
                                        <p:tav tm="100000">
                                          <p:val>
                                            <p:strVal val="#ppt_x"/>
                                          </p:val>
                                        </p:tav>
                                      </p:tavLst>
                                    </p:anim>
                                    <p:anim calcmode="lin" valueType="num">
                                      <p:cBhvr additive="base">
                                        <p:cTn id="13" dur="500" fill="hold"/>
                                        <p:tgtEl>
                                          <p:spTgt spid="8"/>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0-#ppt_w/2"/>
                                          </p:val>
                                        </p:tav>
                                        <p:tav tm="100000">
                                          <p:val>
                                            <p:strVal val="#ppt_x"/>
                                          </p:val>
                                        </p:tav>
                                      </p:tavLst>
                                    </p:anim>
                                    <p:anim calcmode="lin" valueType="num">
                                      <p:cBhvr additive="base">
                                        <p:cTn id="23"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Graphic spid="8"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2706F9-3B7E-4859-BBB5-02381A776D21}"/>
              </a:ext>
            </a:extLst>
          </p:cNvPr>
          <p:cNvSpPr>
            <a:spLocks noGrp="1"/>
          </p:cNvSpPr>
          <p:nvPr>
            <p:ph type="title"/>
          </p:nvPr>
        </p:nvSpPr>
        <p:spPr>
          <a:xfrm>
            <a:off x="634629" y="471294"/>
            <a:ext cx="10546210" cy="374634"/>
          </a:xfrm>
        </p:spPr>
        <p:txBody>
          <a:bodyPr/>
          <a:lstStyle/>
          <a:p>
            <a:r>
              <a:rPr lang="de-DE" sz="2400"/>
              <a:t>INFLATION</a:t>
            </a:r>
            <a:br>
              <a:rPr lang="de-DE" sz="2400" b="0">
                <a:solidFill>
                  <a:schemeClr val="bg1">
                    <a:lumMod val="50000"/>
                  </a:schemeClr>
                </a:solidFill>
              </a:rPr>
            </a:br>
            <a:r>
              <a:rPr lang="de-DE" sz="2400" b="0">
                <a:solidFill>
                  <a:schemeClr val="bg1">
                    <a:lumMod val="50000"/>
                  </a:schemeClr>
                </a:solidFill>
              </a:rPr>
              <a:t>Temporärer Preisanstieg oder längerfristiger Trend?</a:t>
            </a:r>
            <a:endParaRPr lang="de-DE" sz="2400"/>
          </a:p>
        </p:txBody>
      </p:sp>
      <p:pic>
        <p:nvPicPr>
          <p:cNvPr id="5" name="Picture 4">
            <a:extLst>
              <a:ext uri="{FF2B5EF4-FFF2-40B4-BE49-F238E27FC236}">
                <a16:creationId xmlns:a16="http://schemas.microsoft.com/office/drawing/2014/main" id="{1DD17C38-3954-4DE9-A060-9E4A66A71289}"/>
              </a:ext>
            </a:extLst>
          </p:cNvPr>
          <p:cNvPicPr>
            <a:picLocks noChangeAspect="1"/>
          </p:cNvPicPr>
          <p:nvPr/>
        </p:nvPicPr>
        <p:blipFill>
          <a:blip r:embed="rId2"/>
          <a:stretch>
            <a:fillRect/>
          </a:stretch>
        </p:blipFill>
        <p:spPr>
          <a:xfrm>
            <a:off x="634629" y="1648866"/>
            <a:ext cx="12482888" cy="4805022"/>
          </a:xfrm>
          <a:prstGeom prst="rect">
            <a:avLst/>
          </a:prstGeom>
        </p:spPr>
      </p:pic>
    </p:spTree>
    <p:extLst>
      <p:ext uri="{BB962C8B-B14F-4D97-AF65-F5344CB8AC3E}">
        <p14:creationId xmlns:p14="http://schemas.microsoft.com/office/powerpoint/2010/main" val="76256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heme/theme1.xml><?xml version="1.0" encoding="utf-8"?>
<a:theme xmlns:a="http://schemas.openxmlformats.org/drawingml/2006/main" name="RBI Master">
  <a:themeElements>
    <a:clrScheme name="RBI 2020">
      <a:dk1>
        <a:sysClr val="windowText" lastClr="000000"/>
      </a:dk1>
      <a:lt1>
        <a:sysClr val="window" lastClr="FFFFFF"/>
      </a:lt1>
      <a:dk2>
        <a:srgbClr val="000000"/>
      </a:dk2>
      <a:lt2>
        <a:srgbClr val="FFFFFF"/>
      </a:lt2>
      <a:accent1>
        <a:srgbClr val="FEE600"/>
      </a:accent1>
      <a:accent2>
        <a:srgbClr val="595959"/>
      </a:accent2>
      <a:accent3>
        <a:srgbClr val="3366FF"/>
      </a:accent3>
      <a:accent4>
        <a:srgbClr val="800000"/>
      </a:accent4>
      <a:accent5>
        <a:srgbClr val="A3A3A3"/>
      </a:accent5>
      <a:accent6>
        <a:srgbClr val="7F6000"/>
      </a:accent6>
      <a:hlink>
        <a:srgbClr val="FFAE0C"/>
      </a:hlink>
      <a:folHlink>
        <a:srgbClr val="4C3A00"/>
      </a:folHlink>
    </a:clrScheme>
    <a:fontScheme name="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9525">
          <a:noFill/>
        </a:ln>
      </a:spPr>
      <a:bodyPr rtlCol="0" anchor="ctr"/>
      <a:lstStyle>
        <a:defPPr algn="ctr">
          <a:defRPr sz="16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600" b="1" dirty="0" err="1" smtClean="0"/>
        </a:defPPr>
      </a:lstStyle>
    </a:txDef>
  </a:objectDefaults>
  <a:extraClrSchemeLst/>
  <a:extLst>
    <a:ext uri="{05A4C25C-085E-4340-85A3-A5531E510DB2}">
      <thm15:themeFamily xmlns:thm15="http://schemas.microsoft.com/office/thememl/2012/main" name="4_3_RESEARCH_VIRUS_deutsch.potx" id="{13129351-52E5-432E-BD2C-17FF387ADB58}" vid="{1D8DA6D3-300D-4680-8B62-B600CF618334}"/>
    </a:ext>
  </a:extLst>
</a:theme>
</file>

<file path=ppt/theme/theme2.xml><?xml version="1.0" encoding="utf-8"?>
<a:theme xmlns:a="http://schemas.openxmlformats.org/drawingml/2006/main" name="Office Theme">
  <a:themeElements>
    <a:clrScheme name="Raiffaeisen Master">
      <a:dk1>
        <a:srgbClr val="000000"/>
      </a:dk1>
      <a:lt1>
        <a:srgbClr val="FFFFFF"/>
      </a:lt1>
      <a:dk2>
        <a:srgbClr val="000000"/>
      </a:dk2>
      <a:lt2>
        <a:srgbClr val="FFFFFF"/>
      </a:lt2>
      <a:accent1>
        <a:srgbClr val="FFDB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0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000" b="1" dirty="0" err="1"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Raiffaeisen Master">
      <a:dk1>
        <a:srgbClr val="000000"/>
      </a:dk1>
      <a:lt1>
        <a:srgbClr val="FFFFFF"/>
      </a:lt1>
      <a:dk2>
        <a:srgbClr val="000000"/>
      </a:dk2>
      <a:lt2>
        <a:srgbClr val="FFFFFF"/>
      </a:lt2>
      <a:accent1>
        <a:srgbClr val="FFDB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Century Gothi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0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000" b="1"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aiffeisen Research">
    <a:dk1>
      <a:srgbClr val="000000"/>
    </a:dk1>
    <a:lt1>
      <a:srgbClr val="FFFFFF"/>
    </a:lt1>
    <a:dk2>
      <a:srgbClr val="000000"/>
    </a:dk2>
    <a:lt2>
      <a:srgbClr val="FFFFFF"/>
    </a:lt2>
    <a:accent1>
      <a:srgbClr val="FEE600"/>
    </a:accent1>
    <a:accent2>
      <a:srgbClr val="808080"/>
    </a:accent2>
    <a:accent3>
      <a:srgbClr val="0A0FFA"/>
    </a:accent3>
    <a:accent4>
      <a:srgbClr val="843C0C"/>
    </a:accent4>
    <a:accent5>
      <a:srgbClr val="D9D9D9"/>
    </a:accent5>
    <a:accent6>
      <a:srgbClr val="FFF483"/>
    </a:accent6>
    <a:hlink>
      <a:srgbClr val="3366FF"/>
    </a:hlink>
    <a:folHlink>
      <a:srgbClr val="3333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Raiffeisen Research">
    <a:dk1>
      <a:srgbClr val="000000"/>
    </a:dk1>
    <a:lt1>
      <a:srgbClr val="FFFFFF"/>
    </a:lt1>
    <a:dk2>
      <a:srgbClr val="000000"/>
    </a:dk2>
    <a:lt2>
      <a:srgbClr val="FFFFFF"/>
    </a:lt2>
    <a:accent1>
      <a:srgbClr val="FEE600"/>
    </a:accent1>
    <a:accent2>
      <a:srgbClr val="808080"/>
    </a:accent2>
    <a:accent3>
      <a:srgbClr val="0A0FFA"/>
    </a:accent3>
    <a:accent4>
      <a:srgbClr val="843C0C"/>
    </a:accent4>
    <a:accent5>
      <a:srgbClr val="D9D9D9"/>
    </a:accent5>
    <a:accent6>
      <a:srgbClr val="FFF483"/>
    </a:accent6>
    <a:hlink>
      <a:srgbClr val="3366FF"/>
    </a:hlink>
    <a:folHlink>
      <a:srgbClr val="3333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85887f8-f000-491b-a0e9-a12493ed92fa"/>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0C38B1F97DFB148BB32F60B0119F400" ma:contentTypeVersion="17" ma:contentTypeDescription="Create a new document." ma:contentTypeScope="" ma:versionID="112a95a1a2cf8b1eb7c7253ca2987232">
  <xsd:schema xmlns:xsd="http://www.w3.org/2001/XMLSchema" xmlns:xs="http://www.w3.org/2001/XMLSchema" xmlns:p="http://schemas.microsoft.com/office/2006/metadata/properties" xmlns:ns1="http://schemas.microsoft.com/sharepoint/v3" xmlns:ns2="585887f8-f000-491b-a0e9-a12493ed92fa" xmlns:ns3="bf7a6c9d-2b16-47b8-8d05-b2d19fdf8416" targetNamespace="http://schemas.microsoft.com/office/2006/metadata/properties" ma:root="true" ma:fieldsID="1de136a12c3cd251bfa458a9f61f0ae5" ns1:_="" ns2:_="" ns3:_="">
    <xsd:import namespace="http://schemas.microsoft.com/sharepoint/v3"/>
    <xsd:import namespace="585887f8-f000-491b-a0e9-a12493ed92fa"/>
    <xsd:import namespace="bf7a6c9d-2b16-47b8-8d05-b2d19fdf841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Location" minOccurs="0"/>
                <xsd:element ref="ns3:MediaServiceAutoTags" minOccurs="0"/>
                <xsd:element ref="ns3:MediaServiceOCR" minOccurs="0"/>
                <xsd:element ref="ns2:TaxCatchAll" minOccurs="0"/>
                <xsd:element ref="ns3:MediaServiceGenerationTime" minOccurs="0"/>
                <xsd:element ref="ns3:MediaServiceEventHashCode" minOccurs="0"/>
                <xsd:element ref="ns3:MediaServiceAutoKeyPoints" minOccurs="0"/>
                <xsd:element ref="ns3: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85887f8-f000-491b-a0e9-a12493ed92f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b65131db-474f-4cc0-b925-3724b488ff4b}" ma:internalName="TaxCatchAll" ma:showField="CatchAllData" ma:web="585887f8-f000-491b-a0e9-a12493ed92f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f7a6c9d-2b16-47b8-8d05-b2d19fdf841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506E484-3208-446C-B359-FA43F5C6438E}">
  <ds:schemaRefs>
    <ds:schemaRef ds:uri="http://schemas.microsoft.com/sharepoint/v3/contenttype/forms"/>
  </ds:schemaRefs>
</ds:datastoreItem>
</file>

<file path=customXml/itemProps2.xml><?xml version="1.0" encoding="utf-8"?>
<ds:datastoreItem xmlns:ds="http://schemas.openxmlformats.org/officeDocument/2006/customXml" ds:itemID="{DCCDCF9F-6E04-46DF-83BE-06C49F84CD04}">
  <ds:schemaRefs>
    <ds:schemaRef ds:uri="585887f8-f000-491b-a0e9-a12493ed92fa"/>
    <ds:schemaRef ds:uri="bf7a6c9d-2b16-47b8-8d05-b2d19fdf841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39A00E2-1503-4DCA-B3A2-D5162B68124A}">
  <ds:schemaRefs>
    <ds:schemaRef ds:uri="585887f8-f000-491b-a0e9-a12493ed92fa"/>
    <ds:schemaRef ds:uri="bf7a6c9d-2b16-47b8-8d05-b2d19fdf841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4_3_RESEARCH_VIRUS_deutsch</Template>
  <TotalTime>0</TotalTime>
  <Words>3566</Words>
  <Application>Microsoft Office PowerPoint</Application>
  <PresentationFormat>Benutzerdefiniert</PresentationFormat>
  <Paragraphs>276</Paragraphs>
  <Slides>27</Slides>
  <Notes>7</Notes>
  <HiddenSlides>1</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27</vt:i4>
      </vt:variant>
    </vt:vector>
  </HeadingPairs>
  <TitlesOfParts>
    <vt:vector size="36" baseType="lpstr">
      <vt:lpstr>Amalia</vt:lpstr>
      <vt:lpstr>Arial</vt:lpstr>
      <vt:lpstr>Bisnode Sans</vt:lpstr>
      <vt:lpstr>Century Gothic</vt:lpstr>
      <vt:lpstr>Futura CE Book</vt:lpstr>
      <vt:lpstr>Symbol</vt:lpstr>
      <vt:lpstr>Wingdings</vt:lpstr>
      <vt:lpstr>RBI Master</vt:lpstr>
      <vt:lpstr>think-cell Slide</vt:lpstr>
      <vt:lpstr>Finanzmärkte im Bann der Zentralbanken und Inflation</vt:lpstr>
      <vt:lpstr>PowerPoint-Präsentation</vt:lpstr>
      <vt:lpstr>COVID-19  hinterlässt noch immer weniger Spuren</vt:lpstr>
      <vt:lpstr>KONJUNKTUR Lieferkettenverzögerungen und Nachfragesprung</vt:lpstr>
      <vt:lpstr>WELTKONJUNKTUR … ab 2021 langer Zyklus für die kommenden 2-3 Jahre</vt:lpstr>
      <vt:lpstr>ÖSTERREICH: KONJUNKTUR Dynamik nimmt ab, bleibt aber überdurchschnittlich</vt:lpstr>
      <vt:lpstr>PowerPoint-Präsentation</vt:lpstr>
      <vt:lpstr>ÖSTERREICH: ARBEITSMARKT Es mangelt an Flexibilität, nicht an offenen Stellen</vt:lpstr>
      <vt:lpstr>INFLATION Temporärer Preisanstieg oder längerfristiger Trend?</vt:lpstr>
      <vt:lpstr> INFLATION - Reales Schreckgespenst oder kurzfristiger Trend? Kurzfristige Preistrends – Teuerung hat deutlich zugelegt</vt:lpstr>
      <vt:lpstr> INFLATION - Reales Schreckgespenst oder kurzfristiger Trend? Langfristige Preistrends global und Europa</vt:lpstr>
      <vt:lpstr> INFLATION Veränderungen bei langfristigen globalen Trends </vt:lpstr>
      <vt:lpstr>GELDPOLITIK US-FEDERAL RESERVE Normalisierung so rasch wie möglich!</vt:lpstr>
      <vt:lpstr>GELDPOLITIK EZB Negativzinsen so lange wie möglich!</vt:lpstr>
      <vt:lpstr>INFLATION Inflationsängste bei deutschen Bundesanleihen nicht erkennbar</vt:lpstr>
      <vt:lpstr>RENTENMÄRKTE MIT MARGINALER RENDITE Großteils unter der Inflationsrate</vt:lpstr>
      <vt:lpstr>ÖSTERREICH: ZINSEN Tiefer geht’s wohl nicht mehr</vt:lpstr>
      <vt:lpstr>ÖSTERREICH: WOHNIMMOBILIENMARKT Divergenz statt Konvergenz auch im Corona-Jahr 2020</vt:lpstr>
      <vt:lpstr> AKTIENMÄRKTE: DOUBLE TROUBLE? S&amp;P 500 legt um 100 % seit dem Krisentief zu</vt:lpstr>
      <vt:lpstr>AUSBLICK 2022 KONJUNKTUR &amp; FINANZMÄRKTE Weiter Sonnenschein oder Wetterumschwung?</vt:lpstr>
      <vt:lpstr>PowerPoint-Präsentation</vt:lpstr>
      <vt:lpstr>Disclaimer Finanzanalyse</vt:lpstr>
      <vt:lpstr>Disclaimer</vt:lpstr>
      <vt:lpstr>Disclaimer </vt:lpstr>
      <vt:lpstr>Disclaimer </vt:lpstr>
      <vt:lpstr>Impressum</vt:lpstr>
      <vt:lpstr>Impressu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als Spielverderber für Konjunktur und Finanzmärkte?</dc:title>
  <dc:creator>Birgit BACHHOFNER</dc:creator>
  <cp:lastModifiedBy>Marion WANNENMACHER</cp:lastModifiedBy>
  <cp:revision>11</cp:revision>
  <cp:lastPrinted>2021-02-22T15:21:42Z</cp:lastPrinted>
  <dcterms:created xsi:type="dcterms:W3CDTF">2020-09-17T09:15:43Z</dcterms:created>
  <dcterms:modified xsi:type="dcterms:W3CDTF">2021-10-11T09:1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C38B1F97DFB148BB32F60B0119F400</vt:lpwstr>
  </property>
  <property fmtid="{D5CDD505-2E9C-101B-9397-08002B2CF9AE}" pid="3" name="MSIP_Label_2a6524ed-fb1a-49fd-bafe-15c5e5ffd047_SiteId">
    <vt:lpwstr>9b511fda-f0b1-43a5-b06e-1e720f64520a</vt:lpwstr>
  </property>
  <property fmtid="{D5CDD505-2E9C-101B-9397-08002B2CF9AE}" pid="4" name="MSIP_Label_2a6524ed-fb1a-49fd-bafe-15c5e5ffd047_ActionId">
    <vt:lpwstr>d83de92e-e009-4b37-82f6-334e95ecd284</vt:lpwstr>
  </property>
  <property fmtid="{D5CDD505-2E9C-101B-9397-08002B2CF9AE}" pid="5" name="MSIP_Label_2a6524ed-fb1a-49fd-bafe-15c5e5ffd047_Enabled">
    <vt:lpwstr>true</vt:lpwstr>
  </property>
  <property fmtid="{D5CDD505-2E9C-101B-9397-08002B2CF9AE}" pid="6" name="MSIP_Label_2a6524ed-fb1a-49fd-bafe-15c5e5ffd047_SetDate">
    <vt:lpwstr>2020-10-15T13:49:18Z</vt:lpwstr>
  </property>
  <property fmtid="{D5CDD505-2E9C-101B-9397-08002B2CF9AE}" pid="7" name="MSIP_Label_2a6524ed-fb1a-49fd-bafe-15c5e5ffd047_Method">
    <vt:lpwstr>Privileged</vt:lpwstr>
  </property>
  <property fmtid="{D5CDD505-2E9C-101B-9397-08002B2CF9AE}" pid="8" name="MSIP_Label_2a6524ed-fb1a-49fd-bafe-15c5e5ffd047_ContentBits">
    <vt:lpwstr>0</vt:lpwstr>
  </property>
  <property fmtid="{D5CDD505-2E9C-101B-9397-08002B2CF9AE}" pid="9" name="MSIP_Label_2a6524ed-fb1a-49fd-bafe-15c5e5ffd047_Name">
    <vt:lpwstr>Internal</vt:lpwstr>
  </property>
</Properties>
</file>